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33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34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5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6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37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258" r:id="rId2"/>
    <p:sldId id="339" r:id="rId3"/>
    <p:sldId id="340" r:id="rId4"/>
    <p:sldId id="341" r:id="rId5"/>
    <p:sldId id="337" r:id="rId6"/>
    <p:sldId id="336" r:id="rId7"/>
    <p:sldId id="338" r:id="rId8"/>
    <p:sldId id="314" r:id="rId9"/>
    <p:sldId id="260" r:id="rId10"/>
    <p:sldId id="321" r:id="rId11"/>
    <p:sldId id="322" r:id="rId12"/>
    <p:sldId id="323" r:id="rId13"/>
    <p:sldId id="325" r:id="rId14"/>
    <p:sldId id="324" r:id="rId15"/>
    <p:sldId id="326" r:id="rId16"/>
    <p:sldId id="327" r:id="rId17"/>
    <p:sldId id="356" r:id="rId18"/>
    <p:sldId id="328" r:id="rId19"/>
    <p:sldId id="330" r:id="rId20"/>
    <p:sldId id="342" r:id="rId21"/>
    <p:sldId id="343" r:id="rId22"/>
    <p:sldId id="350" r:id="rId23"/>
    <p:sldId id="345" r:id="rId24"/>
    <p:sldId id="346" r:id="rId25"/>
    <p:sldId id="347" r:id="rId26"/>
    <p:sldId id="348" r:id="rId27"/>
    <p:sldId id="349" r:id="rId28"/>
    <p:sldId id="331" r:id="rId29"/>
    <p:sldId id="333" r:id="rId30"/>
    <p:sldId id="332" r:id="rId31"/>
    <p:sldId id="334" r:id="rId32"/>
    <p:sldId id="352" r:id="rId33"/>
    <p:sldId id="353" r:id="rId34"/>
    <p:sldId id="354" r:id="rId35"/>
  </p:sldIdLst>
  <p:sldSz cx="12192000" cy="6858000"/>
  <p:notesSz cx="6858000" cy="9144000"/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12" userDrawn="1">
          <p15:clr>
            <a:srgbClr val="A4A3A4"/>
          </p15:clr>
        </p15:guide>
        <p15:guide id="2" orient="horz" pos="3552">
          <p15:clr>
            <a:srgbClr val="A4A3A4"/>
          </p15:clr>
        </p15:guide>
        <p15:guide id="3" pos="3840">
          <p15:clr>
            <a:srgbClr val="A4A3A4"/>
          </p15:clr>
        </p15:guide>
        <p15:guide id="4" pos="439">
          <p15:clr>
            <a:srgbClr val="A4A3A4"/>
          </p15:clr>
        </p15:guide>
        <p15:guide id="5" orient="horz" pos="4080">
          <p15:clr>
            <a:srgbClr val="A4A3A4"/>
          </p15:clr>
        </p15:guide>
        <p15:guide id="6" orient="horz" pos="1344">
          <p15:clr>
            <a:srgbClr val="A4A3A4"/>
          </p15:clr>
        </p15:guide>
        <p15:guide id="7" pos="3774">
          <p15:clr>
            <a:srgbClr val="A4A3A4"/>
          </p15:clr>
        </p15:guide>
        <p15:guide id="8" pos="3936">
          <p15:clr>
            <a:srgbClr val="A4A3A4"/>
          </p15:clr>
        </p15:guide>
        <p15:guide id="9" pos="7415">
          <p15:clr>
            <a:srgbClr val="A4A3A4"/>
          </p15:clr>
        </p15:guide>
        <p15:guide id="10" pos="6576">
          <p15:clr>
            <a:srgbClr val="A4A3A4"/>
          </p15:clr>
        </p15:guide>
        <p15:guide id="11" orient="horz" pos="639">
          <p15:clr>
            <a:srgbClr val="A4A3A4"/>
          </p15:clr>
        </p15:guide>
        <p15:guide id="1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12"/>
        <p:guide orient="horz" pos="3552"/>
        <p:guide pos="3840"/>
        <p:guide pos="439"/>
        <p:guide orient="horz" pos="4080"/>
        <p:guide orient="horz" pos="1344"/>
        <p:guide pos="3774"/>
        <p:guide pos="3936"/>
        <p:guide pos="7415"/>
        <p:guide pos="6576"/>
        <p:guide orient="horz" pos="639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3</a:t>
            </a:r>
            <a:endParaRPr lang="en-US" altLang="zh-CN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109004607422701"/>
          <c:y val="0.160939108356977"/>
          <c:w val="0.76103638249587602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286-4CC4-A63C-BE8BBE9CCAAD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086-4638-ADA4-23BCBD26E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5</c:f>
              <c:numCache>
                <c:formatCode>m/d;@</c:formatCode>
                <c:ptCount val="6"/>
                <c:pt idx="0">
                  <c:v>43843</c:v>
                </c:pt>
                <c:pt idx="1">
                  <c:v>43844</c:v>
                </c:pt>
                <c:pt idx="2">
                  <c:v>43845</c:v>
                </c:pt>
                <c:pt idx="3">
                  <c:v>43846</c:v>
                </c:pt>
                <c:pt idx="4">
                  <c:v>43847</c:v>
                </c:pt>
                <c:pt idx="5">
                  <c:v>43849</c:v>
                </c:pt>
              </c:numCache>
            </c:numRef>
          </c:cat>
          <c:val>
            <c:numRef>
              <c:f>Sheet1!$B$30:$B$35</c:f>
              <c:numCache>
                <c:formatCode>General</c:formatCode>
                <c:ptCount val="6"/>
                <c:pt idx="0">
                  <c:v>0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286-4CC4-A63C-BE8BBE9CCAA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661-4C30-A742-B2557DE623F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719-4877-93CC-7E1FAFBDA0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5</c:f>
              <c:numCache>
                <c:formatCode>m/d;@</c:formatCode>
                <c:ptCount val="6"/>
                <c:pt idx="0">
                  <c:v>43843</c:v>
                </c:pt>
                <c:pt idx="1">
                  <c:v>43844</c:v>
                </c:pt>
                <c:pt idx="2">
                  <c:v>43845</c:v>
                </c:pt>
                <c:pt idx="3">
                  <c:v>43846</c:v>
                </c:pt>
                <c:pt idx="4">
                  <c:v>43847</c:v>
                </c:pt>
                <c:pt idx="5">
                  <c:v>43849</c:v>
                </c:pt>
              </c:numCache>
            </c:numRef>
          </c:cat>
          <c:val>
            <c:numRef>
              <c:f>Sheet1!$C$30:$C$35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286-4CC4-A63C-BE8BBE9CCAA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30:$A$35</c:f>
              <c:numCache>
                <c:formatCode>m/d;@</c:formatCode>
                <c:ptCount val="6"/>
                <c:pt idx="0">
                  <c:v>43843</c:v>
                </c:pt>
                <c:pt idx="1">
                  <c:v>43844</c:v>
                </c:pt>
                <c:pt idx="2">
                  <c:v>43845</c:v>
                </c:pt>
                <c:pt idx="3">
                  <c:v>43846</c:v>
                </c:pt>
                <c:pt idx="4">
                  <c:v>43847</c:v>
                </c:pt>
                <c:pt idx="5">
                  <c:v>43849</c:v>
                </c:pt>
              </c:numCache>
            </c:numRef>
          </c:cat>
          <c:val>
            <c:numRef>
              <c:f>Sheet1!$D$30:$D$35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286-4CC4-A63C-BE8BBE9CCAA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30:$A$35</c:f>
              <c:numCache>
                <c:formatCode>m/d;@</c:formatCode>
                <c:ptCount val="6"/>
                <c:pt idx="0">
                  <c:v>43843</c:v>
                </c:pt>
                <c:pt idx="1">
                  <c:v>43844</c:v>
                </c:pt>
                <c:pt idx="2">
                  <c:v>43845</c:v>
                </c:pt>
                <c:pt idx="3">
                  <c:v>43846</c:v>
                </c:pt>
                <c:pt idx="4">
                  <c:v>43847</c:v>
                </c:pt>
                <c:pt idx="5">
                  <c:v>43849</c:v>
                </c:pt>
              </c:numCache>
            </c:numRef>
          </c:cat>
          <c:val>
            <c:numRef>
              <c:f>Sheet1!$E$30:$E$35</c:f>
              <c:numCache>
                <c:formatCode>0%</c:formatCode>
                <c:ptCount val="6"/>
                <c:pt idx="0">
                  <c:v>-1</c:v>
                </c:pt>
                <c:pt idx="1">
                  <c:v>0</c:v>
                </c:pt>
                <c:pt idx="2">
                  <c:v>1.5</c:v>
                </c:pt>
                <c:pt idx="3">
                  <c:v>-0.6</c:v>
                </c:pt>
                <c:pt idx="4">
                  <c:v>-1</c:v>
                </c:pt>
                <c:pt idx="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6286-4CC4-A63C-BE8BBE9CCAA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3:$A$42</c:f>
              <c:strCache>
                <c:ptCount val="40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  <c:pt idx="39">
                  <c:v>CW03</c:v>
                </c:pt>
              </c:strCache>
            </c:strRef>
          </c:cat>
          <c:val>
            <c:numRef>
              <c:f>Sheet1!$B$3:$B$42</c:f>
              <c:numCache>
                <c:formatCode>General</c:formatCode>
                <c:ptCount val="40"/>
                <c:pt idx="0">
                  <c:v>63</c:v>
                </c:pt>
                <c:pt idx="1">
                  <c:v>33</c:v>
                </c:pt>
                <c:pt idx="2">
                  <c:v>32</c:v>
                </c:pt>
                <c:pt idx="3">
                  <c:v>37</c:v>
                </c:pt>
                <c:pt idx="4">
                  <c:v>28</c:v>
                </c:pt>
                <c:pt idx="5">
                  <c:v>41</c:v>
                </c:pt>
                <c:pt idx="6">
                  <c:v>36</c:v>
                </c:pt>
                <c:pt idx="7">
                  <c:v>38</c:v>
                </c:pt>
                <c:pt idx="8">
                  <c:v>131</c:v>
                </c:pt>
                <c:pt idx="9">
                  <c:v>55</c:v>
                </c:pt>
                <c:pt idx="10">
                  <c:v>36</c:v>
                </c:pt>
                <c:pt idx="11">
                  <c:v>34</c:v>
                </c:pt>
                <c:pt idx="12">
                  <c:v>30</c:v>
                </c:pt>
                <c:pt idx="13">
                  <c:v>20</c:v>
                </c:pt>
                <c:pt idx="14">
                  <c:v>24</c:v>
                </c:pt>
                <c:pt idx="15">
                  <c:v>18</c:v>
                </c:pt>
                <c:pt idx="16">
                  <c:v>33</c:v>
                </c:pt>
                <c:pt idx="17">
                  <c:v>11</c:v>
                </c:pt>
                <c:pt idx="18">
                  <c:v>26</c:v>
                </c:pt>
                <c:pt idx="19">
                  <c:v>31</c:v>
                </c:pt>
                <c:pt idx="20">
                  <c:v>33</c:v>
                </c:pt>
                <c:pt idx="21">
                  <c:v>28</c:v>
                </c:pt>
                <c:pt idx="22">
                  <c:v>30</c:v>
                </c:pt>
                <c:pt idx="23">
                  <c:v>30</c:v>
                </c:pt>
                <c:pt idx="24">
                  <c:v>18</c:v>
                </c:pt>
                <c:pt idx="25">
                  <c:v>20</c:v>
                </c:pt>
                <c:pt idx="26">
                  <c:v>15</c:v>
                </c:pt>
                <c:pt idx="27">
                  <c:v>19</c:v>
                </c:pt>
                <c:pt idx="28">
                  <c:v>30</c:v>
                </c:pt>
                <c:pt idx="29">
                  <c:v>28</c:v>
                </c:pt>
                <c:pt idx="30">
                  <c:v>27</c:v>
                </c:pt>
                <c:pt idx="31">
                  <c:v>30</c:v>
                </c:pt>
                <c:pt idx="32">
                  <c:v>24</c:v>
                </c:pt>
                <c:pt idx="33">
                  <c:v>29</c:v>
                </c:pt>
                <c:pt idx="34">
                  <c:v>21</c:v>
                </c:pt>
                <c:pt idx="35">
                  <c:v>28</c:v>
                </c:pt>
                <c:pt idx="36">
                  <c:v>17</c:v>
                </c:pt>
                <c:pt idx="37">
                  <c:v>28</c:v>
                </c:pt>
                <c:pt idx="38">
                  <c:v>21</c:v>
                </c:pt>
                <c:pt idx="39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08-4298-9FB7-FD9B09BB77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BA08-4298-9FB7-FD9B09BB776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A394C358-EB4A-4D8A-AF8E-8A200F73FEF9}" type="VALUE">
                      <a:rPr lang="en-US" altLang="zh-CN"/>
                      <a:pPr/>
                      <a:t>[值]</a:t>
                    </a:fld>
                    <a:endParaRPr lang="zh-CN" alt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A08-4298-9FB7-FD9B09BB776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D3B5238C-0035-4E04-B91E-2E4F74FB48DB}" type="VALUE">
                      <a:rPr lang="en-US" altLang="zh-CN"/>
                      <a:pPr/>
                      <a:t>[值]</a:t>
                    </a:fld>
                    <a:endParaRPr lang="zh-CN" alt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A08-4298-9FB7-FD9B09BB7762}"/>
                </c:ext>
              </c:extLst>
            </c:dLbl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A08-4298-9FB7-FD9B09BB77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2</c:f>
              <c:strCache>
                <c:ptCount val="40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  <c:pt idx="39">
                  <c:v>CW03</c:v>
                </c:pt>
              </c:strCache>
            </c:strRef>
          </c:cat>
          <c:val>
            <c:numRef>
              <c:f>Sheet1!$C$3:$C$42</c:f>
              <c:numCache>
                <c:formatCode>0</c:formatCode>
                <c:ptCount val="40"/>
                <c:pt idx="0">
                  <c:v>34.5</c:v>
                </c:pt>
                <c:pt idx="1">
                  <c:v>34</c:v>
                </c:pt>
                <c:pt idx="2">
                  <c:v>33.5</c:v>
                </c:pt>
                <c:pt idx="3">
                  <c:v>34.200000000000003</c:v>
                </c:pt>
                <c:pt idx="4">
                  <c:v>33.166666666666664</c:v>
                </c:pt>
                <c:pt idx="5">
                  <c:v>34.285714285714285</c:v>
                </c:pt>
                <c:pt idx="6">
                  <c:v>34.5</c:v>
                </c:pt>
                <c:pt idx="7">
                  <c:v>34.888888888888886</c:v>
                </c:pt>
                <c:pt idx="8">
                  <c:v>44.5</c:v>
                </c:pt>
                <c:pt idx="9">
                  <c:v>45.454545454545453</c:v>
                </c:pt>
                <c:pt idx="10">
                  <c:v>44.666666666666664</c:v>
                </c:pt>
                <c:pt idx="11">
                  <c:v>43.846153846153847</c:v>
                </c:pt>
                <c:pt idx="12">
                  <c:v>42.857142857142854</c:v>
                </c:pt>
                <c:pt idx="13">
                  <c:v>41.333333333333336</c:v>
                </c:pt>
                <c:pt idx="14">
                  <c:v>40.25</c:v>
                </c:pt>
                <c:pt idx="15">
                  <c:v>38.941176470588232</c:v>
                </c:pt>
                <c:pt idx="16">
                  <c:v>38.611111111111114</c:v>
                </c:pt>
                <c:pt idx="17">
                  <c:v>37.157894736842103</c:v>
                </c:pt>
                <c:pt idx="18">
                  <c:v>36.6</c:v>
                </c:pt>
                <c:pt idx="19">
                  <c:v>36.333333333333336</c:v>
                </c:pt>
                <c:pt idx="20">
                  <c:v>36.18181818181818</c:v>
                </c:pt>
                <c:pt idx="21">
                  <c:v>35.826086956521742</c:v>
                </c:pt>
                <c:pt idx="22">
                  <c:v>35.583333333333336</c:v>
                </c:pt>
                <c:pt idx="23">
                  <c:v>35.36</c:v>
                </c:pt>
                <c:pt idx="24">
                  <c:v>34.692307692307693</c:v>
                </c:pt>
                <c:pt idx="25">
                  <c:v>34.148148148148145</c:v>
                </c:pt>
                <c:pt idx="26">
                  <c:v>33.464285714285715</c:v>
                </c:pt>
                <c:pt idx="27">
                  <c:v>32.96551724137931</c:v>
                </c:pt>
                <c:pt idx="28">
                  <c:v>32.866666666666667</c:v>
                </c:pt>
                <c:pt idx="29">
                  <c:v>32.70967741935484</c:v>
                </c:pt>
                <c:pt idx="30">
                  <c:v>32.53125</c:v>
                </c:pt>
                <c:pt idx="31">
                  <c:v>32.454545454545453</c:v>
                </c:pt>
                <c:pt idx="32">
                  <c:v>32.205882352941174</c:v>
                </c:pt>
                <c:pt idx="33">
                  <c:v>32.114285714285714</c:v>
                </c:pt>
                <c:pt idx="34">
                  <c:v>31.805555555555557</c:v>
                </c:pt>
                <c:pt idx="35">
                  <c:v>31.702702702702702</c:v>
                </c:pt>
                <c:pt idx="36">
                  <c:v>31.315789473684209</c:v>
                </c:pt>
                <c:pt idx="37">
                  <c:v>31.23076923076923</c:v>
                </c:pt>
                <c:pt idx="38">
                  <c:v>30.975000000000001</c:v>
                </c:pt>
                <c:pt idx="39">
                  <c:v>30.560975609756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A08-4298-9FB7-FD9B09BB77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969664"/>
        <c:crosses val="autoZero"/>
        <c:auto val="0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13-4ED9-BC22-56B08AA10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2.9407415622342999E-2"/>
                  <c:y val="-2.85598539313021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13-4ED9-BC22-56B08AA10C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General</c:formatCode>
                <c:ptCount val="41"/>
                <c:pt idx="0">
                  <c:v>3</c:v>
                </c:pt>
                <c:pt idx="1">
                  <c:v>9</c:v>
                </c:pt>
                <c:pt idx="2" formatCode="0">
                  <c:v>4.7142857142857144</c:v>
                </c:pt>
                <c:pt idx="3" formatCode="0">
                  <c:v>4.5714285714285712</c:v>
                </c:pt>
                <c:pt idx="4" formatCode="0">
                  <c:v>5.2857142857142856</c:v>
                </c:pt>
                <c:pt idx="5" formatCode="0">
                  <c:v>4</c:v>
                </c:pt>
                <c:pt idx="6" formatCode="0">
                  <c:v>5.8571428571428568</c:v>
                </c:pt>
                <c:pt idx="7" formatCode="0">
                  <c:v>5.1428571428571432</c:v>
                </c:pt>
                <c:pt idx="8" formatCode="0">
                  <c:v>5.4285714285714288</c:v>
                </c:pt>
                <c:pt idx="9" formatCode="0">
                  <c:v>18.714285714285715</c:v>
                </c:pt>
                <c:pt idx="10" formatCode="0">
                  <c:v>7.8571428571428568</c:v>
                </c:pt>
                <c:pt idx="11" formatCode="0">
                  <c:v>5.1428571428571432</c:v>
                </c:pt>
                <c:pt idx="12" formatCode="0">
                  <c:v>4.8571428571428568</c:v>
                </c:pt>
                <c:pt idx="13" formatCode="0">
                  <c:v>4.2857142857142856</c:v>
                </c:pt>
                <c:pt idx="14" formatCode="0">
                  <c:v>2.8571428571428572</c:v>
                </c:pt>
                <c:pt idx="15" formatCode="0">
                  <c:v>3.4285714285714284</c:v>
                </c:pt>
                <c:pt idx="16" formatCode="0">
                  <c:v>2.5714285714285716</c:v>
                </c:pt>
                <c:pt idx="17" formatCode="0">
                  <c:v>4.7142857142857144</c:v>
                </c:pt>
                <c:pt idx="18" formatCode="0">
                  <c:v>1.5714285714285714</c:v>
                </c:pt>
                <c:pt idx="19" formatCode="0">
                  <c:v>3.7142857142857144</c:v>
                </c:pt>
                <c:pt idx="20" formatCode="0">
                  <c:v>4.4285714285714288</c:v>
                </c:pt>
                <c:pt idx="21" formatCode="0">
                  <c:v>4.7142857142857144</c:v>
                </c:pt>
                <c:pt idx="22" formatCode="0">
                  <c:v>4</c:v>
                </c:pt>
                <c:pt idx="23" formatCode="0">
                  <c:v>4.2857142857142856</c:v>
                </c:pt>
                <c:pt idx="24" formatCode="0">
                  <c:v>4.2857142857142856</c:v>
                </c:pt>
                <c:pt idx="25" formatCode="0">
                  <c:v>2.5714285714285716</c:v>
                </c:pt>
                <c:pt idx="26" formatCode="0">
                  <c:v>2.8571428571428572</c:v>
                </c:pt>
                <c:pt idx="27" formatCode="0">
                  <c:v>2.1428571428571428</c:v>
                </c:pt>
                <c:pt idx="28" formatCode="0">
                  <c:v>2.7142857142857144</c:v>
                </c:pt>
                <c:pt idx="29" formatCode="0">
                  <c:v>4.2857142857142856</c:v>
                </c:pt>
                <c:pt idx="30" formatCode="0">
                  <c:v>4</c:v>
                </c:pt>
                <c:pt idx="31" formatCode="0">
                  <c:v>3.8571428571428572</c:v>
                </c:pt>
                <c:pt idx="32" formatCode="0">
                  <c:v>4.2857142857142856</c:v>
                </c:pt>
                <c:pt idx="33" formatCode="0">
                  <c:v>3.4285714285714284</c:v>
                </c:pt>
                <c:pt idx="34" formatCode="0">
                  <c:v>4.1428571428571432</c:v>
                </c:pt>
                <c:pt idx="35" formatCode="0">
                  <c:v>3</c:v>
                </c:pt>
                <c:pt idx="36" formatCode="0">
                  <c:v>4</c:v>
                </c:pt>
                <c:pt idx="37" formatCode="0">
                  <c:v>2.4285714285714284</c:v>
                </c:pt>
                <c:pt idx="38" formatCode="0">
                  <c:v>4</c:v>
                </c:pt>
                <c:pt idx="39" formatCode="0">
                  <c:v>3</c:v>
                </c:pt>
                <c:pt idx="40" formatCode="0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413-4ED9-BC22-56B08AA10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07040"/>
        <c:crosses val="autoZero"/>
        <c:auto val="0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5A4-44F8-B981-FE6B1D6257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A4-44F8-B981-FE6B1D6257B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3162393162393162</c:v>
                </c:pt>
                <c:pt idx="2" formatCode="0.00%">
                  <c:v>0.97785977859778594</c:v>
                </c:pt>
                <c:pt idx="3" formatCode="0.00%">
                  <c:v>0.21455223880597016</c:v>
                </c:pt>
                <c:pt idx="4" formatCode="0.00%">
                  <c:v>0.16897081413210446</c:v>
                </c:pt>
                <c:pt idx="5" formatCode="0.00%">
                  <c:v>0.16294349540078842</c:v>
                </c:pt>
                <c:pt idx="6" formatCode="0.00%">
                  <c:v>0.10056497175141244</c:v>
                </c:pt>
                <c:pt idx="7" formatCode="0.00%">
                  <c:v>0.12320328542094455</c:v>
                </c:pt>
                <c:pt idx="8" formatCode="0.00%">
                  <c:v>9.6892138939670927E-2</c:v>
                </c:pt>
                <c:pt idx="9" formatCode="0.00%">
                  <c:v>4.416666666666666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5A4-44F8-B981-FE6B1D6257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31623931623931623</c:v>
                </c:pt>
                <c:pt idx="2" formatCode="0.00%">
                  <c:v>0.72077922077922074</c:v>
                </c:pt>
                <c:pt idx="3" formatCode="0.00%">
                  <c:v>-0.56603773584905659</c:v>
                </c:pt>
                <c:pt idx="4" formatCode="0.00%">
                  <c:v>-4.3478260869565216E-2</c:v>
                </c:pt>
                <c:pt idx="5" formatCode="0.00%">
                  <c:v>0.12727272727272726</c:v>
                </c:pt>
                <c:pt idx="6" formatCode="0.00%">
                  <c:v>-0.28225806451612906</c:v>
                </c:pt>
                <c:pt idx="7" formatCode="0.00%">
                  <c:v>0.34831460674157305</c:v>
                </c:pt>
                <c:pt idx="8" formatCode="0.00%">
                  <c:v>-0.11666666666666667</c:v>
                </c:pt>
                <c:pt idx="9" formatCode="0.00%">
                  <c:v>-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5A4-44F8-B981-FE6B1D6257B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0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1.02941176470588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08B-4CB3-B7F9-B4C8877BD55A}"/>
                </c:ext>
              </c:extLst>
            </c:dLbl>
            <c:dLbl>
              <c:idx val="16"/>
              <c:layout>
                <c:manualLayout>
                  <c:x val="0"/>
                  <c:y val="1.3235294117647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08B-4CB3-B7F9-B4C8877BD55A}"/>
                </c:ext>
              </c:extLst>
            </c:dLbl>
            <c:dLbl>
              <c:idx val="17"/>
              <c:layout>
                <c:manualLayout>
                  <c:x val="2.3465971159643902E-3"/>
                  <c:y val="1.9117647058823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08B-4CB3-B7F9-B4C8877BD55A}"/>
                </c:ext>
              </c:extLst>
            </c:dLbl>
            <c:dLbl>
              <c:idx val="22"/>
              <c:layout>
                <c:manualLayout>
                  <c:x val="1.5643980773096E-3"/>
                  <c:y val="1.76470588235294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08B-4CB3-B7F9-B4C8877BD5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08B-4CB3-B7F9-B4C8877BD5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0%</c:formatCode>
                <c:ptCount val="41"/>
                <c:pt idx="0">
                  <c:v>#N/A</c:v>
                </c:pt>
                <c:pt idx="1">
                  <c:v>#N/A</c:v>
                </c:pt>
                <c:pt idx="2" formatCode="0.00%">
                  <c:v>#N/A</c:v>
                </c:pt>
                <c:pt idx="3" formatCode="0.00%">
                  <c:v>0</c:v>
                </c:pt>
                <c:pt idx="4" formatCode="0.00%">
                  <c:v>1.6428571428571428</c:v>
                </c:pt>
                <c:pt idx="5" formatCode="0.00%">
                  <c:v>0.13513513513513514</c:v>
                </c:pt>
                <c:pt idx="6" formatCode="0.00%">
                  <c:v>0.54761904761904767</c:v>
                </c:pt>
                <c:pt idx="7" formatCode="0.00%">
                  <c:v>0.15384615384615385</c:v>
                </c:pt>
                <c:pt idx="8" formatCode="0.00%">
                  <c:v>0.12</c:v>
                </c:pt>
                <c:pt idx="9" formatCode="0.00%">
                  <c:v>0.76190476190476186</c:v>
                </c:pt>
                <c:pt idx="10" formatCode="0.00%">
                  <c:v>0.25</c:v>
                </c:pt>
                <c:pt idx="11" formatCode="0.00%">
                  <c:v>6.4864864864864868E-2</c:v>
                </c:pt>
                <c:pt idx="12" formatCode="0.00%">
                  <c:v>8.1218274111675121E-2</c:v>
                </c:pt>
                <c:pt idx="13" formatCode="0.00%">
                  <c:v>3.2863849765258218E-2</c:v>
                </c:pt>
                <c:pt idx="14" formatCode="0.00%">
                  <c:v>3.1818181818181815E-2</c:v>
                </c:pt>
                <c:pt idx="15" formatCode="0.00%">
                  <c:v>1.3215859030837005E-2</c:v>
                </c:pt>
                <c:pt idx="16" formatCode="0.00%">
                  <c:v>1.3043478260869565E-2</c:v>
                </c:pt>
                <c:pt idx="17" formatCode="0.00%">
                  <c:v>8.5836909871244635E-3</c:v>
                </c:pt>
                <c:pt idx="18" formatCode="0.00%">
                  <c:v>1.7021276595744681E-2</c:v>
                </c:pt>
                <c:pt idx="19" formatCode="0.00%">
                  <c:v>1.6736401673640166E-2</c:v>
                </c:pt>
                <c:pt idx="20" formatCode="0.00%">
                  <c:v>4.5267489711934158E-2</c:v>
                </c:pt>
                <c:pt idx="21" formatCode="0.00%">
                  <c:v>3.5433070866141732E-2</c:v>
                </c:pt>
                <c:pt idx="22" formatCode="0.00%">
                  <c:v>7.6045627376425855E-3</c:v>
                </c:pt>
                <c:pt idx="23" formatCode="0.00%">
                  <c:v>0</c:v>
                </c:pt>
                <c:pt idx="24" formatCode="0.00%">
                  <c:v>3.0188679245283019E-2</c:v>
                </c:pt>
                <c:pt idx="25" formatCode="0.00%">
                  <c:v>3.2967032967032968E-2</c:v>
                </c:pt>
                <c:pt idx="26" formatCode="0.00%">
                  <c:v>7.0921985815602835E-3</c:v>
                </c:pt>
                <c:pt idx="27" formatCode="0.00%">
                  <c:v>0</c:v>
                </c:pt>
                <c:pt idx="28" formatCode="0.00%">
                  <c:v>4.5774647887323945E-2</c:v>
                </c:pt>
                <c:pt idx="29" formatCode="0.00%">
                  <c:v>3.7037037037037035E-2</c:v>
                </c:pt>
                <c:pt idx="30" formatCode="0.00%">
                  <c:v>1.2987012987012988E-2</c:v>
                </c:pt>
                <c:pt idx="31" formatCode="0.00%">
                  <c:v>2.2435897435897436E-2</c:v>
                </c:pt>
                <c:pt idx="32" formatCode="0.00%">
                  <c:v>2.5078369905956112E-2</c:v>
                </c:pt>
                <c:pt idx="33" formatCode="0.00%">
                  <c:v>1.5290519877675841E-2</c:v>
                </c:pt>
                <c:pt idx="34" formatCode="0.00%">
                  <c:v>1.8072289156626505E-2</c:v>
                </c:pt>
                <c:pt idx="35" formatCode="0.00%">
                  <c:v>0</c:v>
                </c:pt>
                <c:pt idx="36" formatCode="0.00%">
                  <c:v>8.8757396449704144E-3</c:v>
                </c:pt>
                <c:pt idx="37" formatCode="0.00%">
                  <c:v>0</c:v>
                </c:pt>
                <c:pt idx="38" formatCode="0.00%">
                  <c:v>2.9325513196480938E-3</c:v>
                </c:pt>
                <c:pt idx="39" formatCode="0.00%">
                  <c:v>0</c:v>
                </c:pt>
                <c:pt idx="40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08B-4CB3-B7F9-B4C8877BD55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D$2:$D$42</c:f>
              <c:numCache>
                <c:formatCode>General</c:formatCode>
                <c:ptCount val="41"/>
                <c:pt idx="0" formatCode="0%">
                  <c:v>#N/A</c:v>
                </c:pt>
                <c:pt idx="1">
                  <c:v>#N/A</c:v>
                </c:pt>
                <c:pt idx="2" formatCode="0.00%">
                  <c:v>#N/A</c:v>
                </c:pt>
                <c:pt idx="3" formatCode="0.00%">
                  <c:v>0</c:v>
                </c:pt>
                <c:pt idx="4" formatCode="0.00%">
                  <c:v>0.6428571428571429</c:v>
                </c:pt>
                <c:pt idx="5" formatCode="0.00%">
                  <c:v>-0.78260869565217395</c:v>
                </c:pt>
                <c:pt idx="6" formatCode="0.00%">
                  <c:v>3.6</c:v>
                </c:pt>
                <c:pt idx="7" formatCode="0.00%">
                  <c:v>-0.56521739130434778</c:v>
                </c:pt>
                <c:pt idx="8" formatCode="0.00%">
                  <c:v>-0.1</c:v>
                </c:pt>
                <c:pt idx="9" formatCode="0.00%">
                  <c:v>6.1111111111111107</c:v>
                </c:pt>
                <c:pt idx="10" formatCode="0.00%">
                  <c:v>-0.421875</c:v>
                </c:pt>
                <c:pt idx="11" formatCode="0.00%">
                  <c:v>-0.67567567567567566</c:v>
                </c:pt>
                <c:pt idx="12" formatCode="0.00%">
                  <c:v>0.33333333333333331</c:v>
                </c:pt>
                <c:pt idx="13" formatCode="0.00%">
                  <c:v>-0.5625</c:v>
                </c:pt>
                <c:pt idx="14" formatCode="0.00%">
                  <c:v>0</c:v>
                </c:pt>
                <c:pt idx="15" formatCode="0.00%">
                  <c:v>-0.5714285714285714</c:v>
                </c:pt>
                <c:pt idx="16" formatCode="0.00%">
                  <c:v>0</c:v>
                </c:pt>
                <c:pt idx="17" formatCode="0.00%">
                  <c:v>-0.33333333333333331</c:v>
                </c:pt>
                <c:pt idx="18" formatCode="0.00%">
                  <c:v>1</c:v>
                </c:pt>
                <c:pt idx="19" formatCode="0.00%">
                  <c:v>0</c:v>
                </c:pt>
                <c:pt idx="20" formatCode="0.00%">
                  <c:v>1.75</c:v>
                </c:pt>
                <c:pt idx="21" formatCode="0.00%">
                  <c:v>-0.18181818181818182</c:v>
                </c:pt>
                <c:pt idx="22" formatCode="0.00%">
                  <c:v>-0.77777777777777779</c:v>
                </c:pt>
                <c:pt idx="23" formatCode="0.00%">
                  <c:v>-1</c:v>
                </c:pt>
                <c:pt idx="24" formatCode="0.00%">
                  <c:v>0</c:v>
                </c:pt>
                <c:pt idx="25" formatCode="0.00%">
                  <c:v>0.125</c:v>
                </c:pt>
                <c:pt idx="26" formatCode="0.00%">
                  <c:v>-0.77777777777777779</c:v>
                </c:pt>
                <c:pt idx="27" formatCode="0.00%">
                  <c:v>-1</c:v>
                </c:pt>
                <c:pt idx="28" formatCode="0.00%">
                  <c:v>0</c:v>
                </c:pt>
                <c:pt idx="29" formatCode="0.00%">
                  <c:v>-0.15384615384615385</c:v>
                </c:pt>
                <c:pt idx="30" formatCode="0.00%">
                  <c:v>-0.63636363636363635</c:v>
                </c:pt>
                <c:pt idx="31" formatCode="0.00%">
                  <c:v>0.75</c:v>
                </c:pt>
                <c:pt idx="32" formatCode="0.00%">
                  <c:v>0.14285714285714285</c:v>
                </c:pt>
                <c:pt idx="33" formatCode="0.00%">
                  <c:v>-0.375</c:v>
                </c:pt>
                <c:pt idx="34" formatCode="0.00%">
                  <c:v>0.2</c:v>
                </c:pt>
                <c:pt idx="35" formatCode="0.00%">
                  <c:v>-1</c:v>
                </c:pt>
                <c:pt idx="36" formatCode="0.00%">
                  <c:v>0</c:v>
                </c:pt>
                <c:pt idx="37" formatCode="0.00%">
                  <c:v>-1</c:v>
                </c:pt>
                <c:pt idx="38" formatCode="0.00%">
                  <c:v>0</c:v>
                </c:pt>
                <c:pt idx="39" formatCode="0.00%">
                  <c:v>-1</c:v>
                </c:pt>
                <c:pt idx="40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08B-4CB3-B7F9-B4C8877BD5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531329710546699"/>
          <c:y val="0.153188691087527"/>
          <c:w val="0.84886510665040105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7F-4CAB-94C5-78001493B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257-4259-B619-11AD08E3996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57-4259-B619-11AD08E3996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57-4259-B619-11AD08E3996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5B7B887-3318-4197-9262-23D569BB344B}" type="VALUE">
                      <a:rPr lang="en-US" altLang="zh-CN"/>
                      <a:pPr/>
                      <a:t>[值]</a:t>
                    </a:fld>
                    <a:endParaRPr lang="zh-CN" alt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87F-4CAB-94C5-78001493B9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0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865</c:v>
                </c:pt>
                <c:pt idx="7">
                  <c:v>9.375</c:v>
                </c:pt>
                <c:pt idx="8">
                  <c:v>9.3333333333333339</c:v>
                </c:pt>
                <c:pt idx="9">
                  <c:v>14.8</c:v>
                </c:pt>
                <c:pt idx="10">
                  <c:v>16.818181818181817</c:v>
                </c:pt>
                <c:pt idx="11">
                  <c:v>16.416666666666668</c:v>
                </c:pt>
                <c:pt idx="12">
                  <c:v>16.384615384615383</c:v>
                </c:pt>
                <c:pt idx="13">
                  <c:v>15.714285714285714</c:v>
                </c:pt>
                <c:pt idx="14">
                  <c:v>15.133333333333333</c:v>
                </c:pt>
                <c:pt idx="15">
                  <c:v>14.375</c:v>
                </c:pt>
                <c:pt idx="16">
                  <c:v>13.705882352941176</c:v>
                </c:pt>
                <c:pt idx="17">
                  <c:v>13.055555555555555</c:v>
                </c:pt>
                <c:pt idx="18">
                  <c:v>12.578947368421053</c:v>
                </c:pt>
                <c:pt idx="19">
                  <c:v>12.15</c:v>
                </c:pt>
                <c:pt idx="20">
                  <c:v>12.095238095238095</c:v>
                </c:pt>
                <c:pt idx="21">
                  <c:v>11.954545454545455</c:v>
                </c:pt>
                <c:pt idx="22">
                  <c:v>11.521739130434783</c:v>
                </c:pt>
                <c:pt idx="23">
                  <c:v>11.041666666666666</c:v>
                </c:pt>
                <c:pt idx="24">
                  <c:v>10.92</c:v>
                </c:pt>
                <c:pt idx="25">
                  <c:v>10.846153846153847</c:v>
                </c:pt>
                <c:pt idx="26">
                  <c:v>10.518518518518519</c:v>
                </c:pt>
                <c:pt idx="27">
                  <c:v>10.142857142857142</c:v>
                </c:pt>
                <c:pt idx="28">
                  <c:v>10.241379310344827</c:v>
                </c:pt>
                <c:pt idx="29">
                  <c:v>10.266666666666667</c:v>
                </c:pt>
                <c:pt idx="30">
                  <c:v>10.064516129032258</c:v>
                </c:pt>
                <c:pt idx="31">
                  <c:v>9.96875</c:v>
                </c:pt>
                <c:pt idx="32">
                  <c:v>9.9090909090909083</c:v>
                </c:pt>
                <c:pt idx="33">
                  <c:v>9.764705882352942</c:v>
                </c:pt>
                <c:pt idx="34">
                  <c:v>9.6571428571428566</c:v>
                </c:pt>
                <c:pt idx="35">
                  <c:v>9.3888888888888893</c:v>
                </c:pt>
                <c:pt idx="36">
                  <c:v>9.2162162162162158</c:v>
                </c:pt>
                <c:pt idx="37">
                  <c:v>8.973684210526315</c:v>
                </c:pt>
                <c:pt idx="38">
                  <c:v>8.7692307692307701</c:v>
                </c:pt>
                <c:pt idx="39">
                  <c:v>8.5500000000000007</c:v>
                </c:pt>
                <c:pt idx="40">
                  <c:v>8.34146341463414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87F-4CAB-94C5-78001493B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302016"/>
        <c:crosses val="autoZero"/>
        <c:auto val="0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8A-4130-8148-E1576A47C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5F9-447C-BF98-08F5DF10570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5F9-447C-BF98-08F5DF10570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5F9-447C-BF98-08F5DF10570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5F9-447C-BF98-08F5DF10570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5F9-447C-BF98-08F5DF10570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5F9-447C-BF98-08F5DF10570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5F9-447C-BF98-08F5DF10570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5F9-447C-BF98-08F5DF105701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5F9-447C-BF98-08F5DF105701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5F9-447C-BF98-08F5DF1057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General</c:formatCode>
                <c:ptCount val="41"/>
                <c:pt idx="0">
                  <c:v>0</c:v>
                </c:pt>
                <c:pt idx="1">
                  <c:v>0</c:v>
                </c:pt>
                <c:pt idx="2" formatCode="0">
                  <c:v>0</c:v>
                </c:pt>
                <c:pt idx="3" formatCode="0">
                  <c:v>2</c:v>
                </c:pt>
                <c:pt idx="4" formatCode="0">
                  <c:v>3.2857142857142856</c:v>
                </c:pt>
                <c:pt idx="5" formatCode="0">
                  <c:v>0.7142857142857143</c:v>
                </c:pt>
                <c:pt idx="6" formatCode="0">
                  <c:v>3.2857142857142856</c:v>
                </c:pt>
                <c:pt idx="7" formatCode="0">
                  <c:v>1.4285714285714286</c:v>
                </c:pt>
                <c:pt idx="8" formatCode="0">
                  <c:v>1.2857142857142858</c:v>
                </c:pt>
                <c:pt idx="9" formatCode="0">
                  <c:v>9.1428571428571423</c:v>
                </c:pt>
                <c:pt idx="10" formatCode="0">
                  <c:v>5.2857142857142856</c:v>
                </c:pt>
                <c:pt idx="11" formatCode="0">
                  <c:v>1.7142857142857142</c:v>
                </c:pt>
                <c:pt idx="12" formatCode="0">
                  <c:v>2.2857142857142856</c:v>
                </c:pt>
                <c:pt idx="13" formatCode="0">
                  <c:v>1</c:v>
                </c:pt>
                <c:pt idx="14" formatCode="0">
                  <c:v>1</c:v>
                </c:pt>
                <c:pt idx="15" formatCode="0">
                  <c:v>0.42857142857142855</c:v>
                </c:pt>
                <c:pt idx="16" formatCode="0">
                  <c:v>0.42857142857142855</c:v>
                </c:pt>
                <c:pt idx="17" formatCode="0">
                  <c:v>0.2857142857142857</c:v>
                </c:pt>
                <c:pt idx="18" formatCode="0">
                  <c:v>0.5714285714285714</c:v>
                </c:pt>
                <c:pt idx="19" formatCode="0">
                  <c:v>0.5714285714285714</c:v>
                </c:pt>
                <c:pt idx="20" formatCode="0">
                  <c:v>1.5714285714285714</c:v>
                </c:pt>
                <c:pt idx="21" formatCode="0">
                  <c:v>1.2857142857142858</c:v>
                </c:pt>
                <c:pt idx="22" formatCode="0">
                  <c:v>0.2857142857142857</c:v>
                </c:pt>
                <c:pt idx="23" formatCode="0">
                  <c:v>0</c:v>
                </c:pt>
                <c:pt idx="24" formatCode="0">
                  <c:v>1.1428571428571428</c:v>
                </c:pt>
                <c:pt idx="25" formatCode="0">
                  <c:v>1.2857142857142858</c:v>
                </c:pt>
                <c:pt idx="26" formatCode="0">
                  <c:v>0.2857142857142857</c:v>
                </c:pt>
                <c:pt idx="27" formatCode="0">
                  <c:v>0</c:v>
                </c:pt>
                <c:pt idx="28" formatCode="0">
                  <c:v>1.8571428571428572</c:v>
                </c:pt>
                <c:pt idx="29" formatCode="0">
                  <c:v>1.5714285714285714</c:v>
                </c:pt>
                <c:pt idx="30" formatCode="0">
                  <c:v>0.5714285714285714</c:v>
                </c:pt>
                <c:pt idx="31" formatCode="0">
                  <c:v>1</c:v>
                </c:pt>
                <c:pt idx="32" formatCode="0">
                  <c:v>1.1428571428571428</c:v>
                </c:pt>
                <c:pt idx="33" formatCode="0">
                  <c:v>0.7142857142857143</c:v>
                </c:pt>
                <c:pt idx="34" formatCode="0">
                  <c:v>0.8571428571428571</c:v>
                </c:pt>
                <c:pt idx="35" formatCode="0">
                  <c:v>0</c:v>
                </c:pt>
                <c:pt idx="36" formatCode="0">
                  <c:v>0.42857142857142855</c:v>
                </c:pt>
                <c:pt idx="37" formatCode="0">
                  <c:v>0</c:v>
                </c:pt>
                <c:pt idx="38" formatCode="0">
                  <c:v>0.14285714285714285</c:v>
                </c:pt>
                <c:pt idx="39" formatCode="0">
                  <c:v>0</c:v>
                </c:pt>
                <c:pt idx="40" formatCode="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C8A-4130-8148-E1576A47C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26496"/>
        <c:crosses val="autoZero"/>
        <c:auto val="0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F77-4B01-8889-D88C2B46338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F77-4B01-8889-D88C2B46338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F77-4B01-8889-D88C2B46338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F77-4B01-8889-D88C2B46338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8F77-4B01-8889-D88C2B46338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F77-4B01-8889-D88C2B4633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5.4545454545454541</c:v>
                </c:pt>
                <c:pt idx="2" formatCode="0.00%">
                  <c:v>1.7746478873239437</c:v>
                </c:pt>
                <c:pt idx="3" formatCode="0.00%">
                  <c:v>0.16751269035532995</c:v>
                </c:pt>
                <c:pt idx="4" formatCode="0.00%">
                  <c:v>0.1</c:v>
                </c:pt>
                <c:pt idx="5" formatCode="0.00%">
                  <c:v>7.9051383399209488E-2</c:v>
                </c:pt>
                <c:pt idx="6" formatCode="0.00%">
                  <c:v>9.1575091575091569E-2</c:v>
                </c:pt>
                <c:pt idx="7" formatCode="0.00%">
                  <c:v>0.11409395973154363</c:v>
                </c:pt>
                <c:pt idx="8" formatCode="0.00%">
                  <c:v>3.0120481927710843E-2</c:v>
                </c:pt>
                <c:pt idx="9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F77-4B01-8889-D88C2B4633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4.4545454545454541</c:v>
                </c:pt>
                <c:pt idx="2" formatCode="0.00%">
                  <c:v>1.1000000000000001</c:v>
                </c:pt>
                <c:pt idx="3" formatCode="0.00%">
                  <c:v>-0.73809523809523814</c:v>
                </c:pt>
                <c:pt idx="4" formatCode="0.00%">
                  <c:v>-0.30303030303030304</c:v>
                </c:pt>
                <c:pt idx="5" formatCode="0.00%">
                  <c:v>-0.13043478260869565</c:v>
                </c:pt>
                <c:pt idx="6" formatCode="0.00%">
                  <c:v>0.25</c:v>
                </c:pt>
                <c:pt idx="7" formatCode="0.00%">
                  <c:v>0.36</c:v>
                </c:pt>
                <c:pt idx="8" formatCode="0.00%">
                  <c:v>-0.70588235294117652</c:v>
                </c:pt>
                <c:pt idx="9" formatCode="0.00%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F77-4B01-8889-D88C2B4633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3937761819270119E-3"/>
                  <c:y val="0.115756564855577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3A-43C3-8A7A-51D9470881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6</c:f>
              <c:numCache>
                <c:formatCode>m/d;@</c:formatCode>
                <c:ptCount val="7"/>
                <c:pt idx="0">
                  <c:v>43843</c:v>
                </c:pt>
                <c:pt idx="1">
                  <c:v>43844</c:v>
                </c:pt>
                <c:pt idx="2">
                  <c:v>43845</c:v>
                </c:pt>
                <c:pt idx="3">
                  <c:v>43846</c:v>
                </c:pt>
                <c:pt idx="4">
                  <c:v>43847</c:v>
                </c:pt>
                <c:pt idx="5">
                  <c:v>43848</c:v>
                </c:pt>
                <c:pt idx="6">
                  <c:v>43849</c:v>
                </c:pt>
              </c:numCache>
            </c:numRef>
          </c:cat>
          <c:val>
            <c:numRef>
              <c:f>Sheet1!$B$30:$B$36</c:f>
              <c:numCache>
                <c:formatCode>General</c:formatCode>
                <c:ptCount val="7"/>
                <c:pt idx="0">
                  <c:v>0.8</c:v>
                </c:pt>
                <c:pt idx="1">
                  <c:v>1.8</c:v>
                </c:pt>
                <c:pt idx="2">
                  <c:v>2.4</c:v>
                </c:pt>
                <c:pt idx="3">
                  <c:v>0</c:v>
                </c:pt>
                <c:pt idx="4">
                  <c:v>1.8</c:v>
                </c:pt>
                <c:pt idx="6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4C-4DF0-9764-5D2E16887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6</c:f>
              <c:numCache>
                <c:formatCode>m/d;@</c:formatCode>
                <c:ptCount val="7"/>
                <c:pt idx="0">
                  <c:v>43843</c:v>
                </c:pt>
                <c:pt idx="1">
                  <c:v>43844</c:v>
                </c:pt>
                <c:pt idx="2">
                  <c:v>43845</c:v>
                </c:pt>
                <c:pt idx="3">
                  <c:v>43846</c:v>
                </c:pt>
                <c:pt idx="4">
                  <c:v>43847</c:v>
                </c:pt>
                <c:pt idx="5">
                  <c:v>43848</c:v>
                </c:pt>
                <c:pt idx="6">
                  <c:v>43849</c:v>
                </c:pt>
              </c:numCache>
            </c:numRef>
          </c:cat>
          <c:val>
            <c:numRef>
              <c:f>Sheet1!$C$30:$C$36</c:f>
              <c:numCache>
                <c:formatCode>0%</c:formatCode>
                <c:ptCount val="7"/>
                <c:pt idx="0">
                  <c:v>1</c:v>
                </c:pt>
                <c:pt idx="1">
                  <c:v>1.25</c:v>
                </c:pt>
                <c:pt idx="2">
                  <c:v>0.33333333333333326</c:v>
                </c:pt>
                <c:pt idx="3">
                  <c:v>-1</c:v>
                </c:pt>
                <c:pt idx="4">
                  <c:v>0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4C-4DF0-9764-5D2E16887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3937761819270119E-3"/>
                  <c:y val="0.115756564855577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116-4F4D-98E2-1FC60BE8A3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B$23:$B$29</c:f>
              <c:numCache>
                <c:formatCode>General</c:formatCode>
                <c:ptCount val="7"/>
                <c:pt idx="0">
                  <c:v>3.8</c:v>
                </c:pt>
                <c:pt idx="1">
                  <c:v>0.8</c:v>
                </c:pt>
                <c:pt idx="2">
                  <c:v>1.2</c:v>
                </c:pt>
                <c:pt idx="3">
                  <c:v>1.3</c:v>
                </c:pt>
                <c:pt idx="4">
                  <c:v>0.9</c:v>
                </c:pt>
                <c:pt idx="5">
                  <c:v>0.6</c:v>
                </c:pt>
                <c:pt idx="6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116-4F4D-98E2-1FC60BE8A3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C$23:$C$29</c:f>
              <c:numCache>
                <c:formatCode>0%</c:formatCode>
                <c:ptCount val="7"/>
                <c:pt idx="0">
                  <c:v>2.8</c:v>
                </c:pt>
                <c:pt idx="1">
                  <c:v>-0.78947368421052633</c:v>
                </c:pt>
                <c:pt idx="2">
                  <c:v>0.49999999999999989</c:v>
                </c:pt>
                <c:pt idx="3">
                  <c:v>8.3333333333333412E-2</c:v>
                </c:pt>
                <c:pt idx="4">
                  <c:v>-0.30769230769230771</c:v>
                </c:pt>
                <c:pt idx="5">
                  <c:v>-0.33333333333333337</c:v>
                </c:pt>
                <c:pt idx="6">
                  <c:v>-0.33333333333333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116-4F4D-98E2-1FC60BE8A3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F2-4278-AC08-16AAF0984A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0%</c:formatCode>
                <c:ptCount val="41"/>
                <c:pt idx="0">
                  <c:v>#N/A</c:v>
                </c:pt>
                <c:pt idx="1">
                  <c:v>#N/A</c:v>
                </c:pt>
                <c:pt idx="2" formatCode="0.00%">
                  <c:v>0.29561200923787528</c:v>
                </c:pt>
                <c:pt idx="3" formatCode="0.00%">
                  <c:v>0.4866310160427807</c:v>
                </c:pt>
                <c:pt idx="4" formatCode="0.00%">
                  <c:v>0.18585131894484411</c:v>
                </c:pt>
                <c:pt idx="5" formatCode="0.00%">
                  <c:v>7.2800808897876629E-2</c:v>
                </c:pt>
                <c:pt idx="6" formatCode="0.00%">
                  <c:v>0.24033930254476904</c:v>
                </c:pt>
                <c:pt idx="7" formatCode="0.00%">
                  <c:v>6.0030395136778124E-2</c:v>
                </c:pt>
                <c:pt idx="8" formatCode="0.00%">
                  <c:v>8.74551971326165E-2</c:v>
                </c:pt>
                <c:pt idx="9" formatCode="0.00%">
                  <c:v>0.27620303230059329</c:v>
                </c:pt>
                <c:pt idx="10" formatCode="0.00%">
                  <c:v>0.10898760330578514</c:v>
                </c:pt>
                <c:pt idx="11" formatCode="0.00%">
                  <c:v>6.6138798323241738E-2</c:v>
                </c:pt>
                <c:pt idx="12" formatCode="0.00%">
                  <c:v>5.0240279598077767E-2</c:v>
                </c:pt>
                <c:pt idx="13" formatCode="0.00%">
                  <c:v>6.4059900166389364E-2</c:v>
                </c:pt>
                <c:pt idx="14" formatCode="0.00%">
                  <c:v>8.7959343236903839E-2</c:v>
                </c:pt>
                <c:pt idx="15" formatCode="0.00%">
                  <c:v>2.2278117139777225E-2</c:v>
                </c:pt>
                <c:pt idx="16" formatCode="0.00%">
                  <c:v>3.9718804920913897E-2</c:v>
                </c:pt>
                <c:pt idx="17" formatCode="0.00%">
                  <c:v>2.2650439486139286E-2</c:v>
                </c:pt>
                <c:pt idx="18" formatCode="0.00%">
                  <c:v>4.4297520661157032E-2</c:v>
                </c:pt>
                <c:pt idx="19" formatCode="0.00%">
                  <c:v>4.7166824944602732E-2</c:v>
                </c:pt>
                <c:pt idx="20" formatCode="0.00%">
                  <c:v>4.9274486094316824E-2</c:v>
                </c:pt>
                <c:pt idx="21" formatCode="0.00%">
                  <c:v>3.3419763756842413E-2</c:v>
                </c:pt>
                <c:pt idx="22" formatCode="0.00%">
                  <c:v>2.4811820462782276E-2</c:v>
                </c:pt>
                <c:pt idx="23" formatCode="0.00%">
                  <c:v>1.3873775843307946E-2</c:v>
                </c:pt>
                <c:pt idx="24" formatCode="0.00%">
                  <c:v>2.0660048296216801E-2</c:v>
                </c:pt>
                <c:pt idx="25" formatCode="0.00%">
                  <c:v>2.9968454258675087E-2</c:v>
                </c:pt>
                <c:pt idx="26" formatCode="0.00%">
                  <c:v>1.7355793772332827E-2</c:v>
                </c:pt>
                <c:pt idx="27" formatCode="0.00%">
                  <c:v>9.7842448569995001E-3</c:v>
                </c:pt>
                <c:pt idx="28" formatCode="0.00%">
                  <c:v>2.4596273291925475E-2</c:v>
                </c:pt>
                <c:pt idx="29" formatCode="0.00%">
                  <c:v>7.9534432589718734E-2</c:v>
                </c:pt>
                <c:pt idx="30" formatCode="0.00%">
                  <c:v>1.5498652291105126E-2</c:v>
                </c:pt>
                <c:pt idx="31" formatCode="0.00%">
                  <c:v>2.9418270294182713E-2</c:v>
                </c:pt>
                <c:pt idx="32" formatCode="0.00%">
                  <c:v>1.9338203695745602E-2</c:v>
                </c:pt>
                <c:pt idx="33" formatCode="0.00%">
                  <c:v>1.4333895446880273E-2</c:v>
                </c:pt>
                <c:pt idx="34" formatCode="0.00%">
                  <c:v>1.7871986699916877E-2</c:v>
                </c:pt>
                <c:pt idx="35" formatCode="0.00%">
                  <c:v>1.7354022049816255E-2</c:v>
                </c:pt>
                <c:pt idx="36" formatCode="0.00%">
                  <c:v>1.9064820389323705E-2</c:v>
                </c:pt>
                <c:pt idx="37" formatCode="0.00%">
                  <c:v>1.9495864513588031E-2</c:v>
                </c:pt>
                <c:pt idx="38" formatCode="0.00%">
                  <c:v>1.2748696156074948E-2</c:v>
                </c:pt>
                <c:pt idx="39" formatCode="0.00%">
                  <c:v>1.7165744802593936E-2</c:v>
                </c:pt>
                <c:pt idx="40" formatCode="0.00%">
                  <c:v>1.387586724170260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CF2-4278-AC08-16AAF0984A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CF2-4278-AC08-16AAF0984A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D$2:$D$42</c:f>
              <c:numCache>
                <c:formatCode>General</c:formatCode>
                <c:ptCount val="41"/>
                <c:pt idx="0" formatCode="0%">
                  <c:v>#N/A</c:v>
                </c:pt>
                <c:pt idx="1">
                  <c:v>#N/A</c:v>
                </c:pt>
                <c:pt idx="2" formatCode="0.00%">
                  <c:v>-0.70163170163170163</c:v>
                </c:pt>
                <c:pt idx="3" formatCode="0.00%">
                  <c:v>1.1328125</c:v>
                </c:pt>
                <c:pt idx="4" formatCode="0.00%">
                  <c:v>-0.43223443223443225</c:v>
                </c:pt>
                <c:pt idx="5" formatCode="0.00%">
                  <c:v>-0.53548387096774197</c:v>
                </c:pt>
                <c:pt idx="6" formatCode="0.00%">
                  <c:v>2.5416666666666665</c:v>
                </c:pt>
                <c:pt idx="7" formatCode="0.00%">
                  <c:v>-0.69019607843137243</c:v>
                </c:pt>
                <c:pt idx="8" formatCode="0.00%">
                  <c:v>0.54430379746835444</c:v>
                </c:pt>
                <c:pt idx="9" formatCode="0.00%">
                  <c:v>2.4344262295081962</c:v>
                </c:pt>
                <c:pt idx="10" formatCode="0.00%">
                  <c:v>-0.49642004773269682</c:v>
                </c:pt>
                <c:pt idx="11" formatCode="0.00%">
                  <c:v>-0.32701421800947877</c:v>
                </c:pt>
                <c:pt idx="12" formatCode="0.00%">
                  <c:v>-0.1901408450704225</c:v>
                </c:pt>
                <c:pt idx="13" formatCode="0.00%">
                  <c:v>0.33913043478260874</c:v>
                </c:pt>
                <c:pt idx="14" formatCode="0.00%">
                  <c:v>0.46103896103896103</c:v>
                </c:pt>
                <c:pt idx="15" formatCode="0.00%">
                  <c:v>-0.72444444444444445</c:v>
                </c:pt>
                <c:pt idx="16" formatCode="0.00%">
                  <c:v>0.82258064516129037</c:v>
                </c:pt>
                <c:pt idx="17" formatCode="0.00%">
                  <c:v>-0.40707964601769914</c:v>
                </c:pt>
                <c:pt idx="18" formatCode="0.00%">
                  <c:v>1</c:v>
                </c:pt>
                <c:pt idx="19" formatCode="0.00%">
                  <c:v>0.11194029850746269</c:v>
                </c:pt>
                <c:pt idx="20" formatCode="0.00%">
                  <c:v>9.3959731543624178E-2</c:v>
                </c:pt>
                <c:pt idx="21" formatCode="0.00%">
                  <c:v>-0.28834355828220865</c:v>
                </c:pt>
                <c:pt idx="22" formatCode="0.00%">
                  <c:v>-0.23275862068965511</c:v>
                </c:pt>
                <c:pt idx="23" formatCode="0.00%">
                  <c:v>-0.4269662921348315</c:v>
                </c:pt>
                <c:pt idx="24" formatCode="0.00%">
                  <c:v>0.50980392156862764</c:v>
                </c:pt>
                <c:pt idx="25" formatCode="0.00%">
                  <c:v>0.48051948051948051</c:v>
                </c:pt>
                <c:pt idx="26" formatCode="0.00%">
                  <c:v>-0.40350877192982459</c:v>
                </c:pt>
                <c:pt idx="27" formatCode="0.00%">
                  <c:v>-0.4264705882352941</c:v>
                </c:pt>
                <c:pt idx="28" formatCode="0.00%">
                  <c:v>1.5384615384615385</c:v>
                </c:pt>
                <c:pt idx="29" formatCode="0.00%">
                  <c:v>2.3131313131313127</c:v>
                </c:pt>
                <c:pt idx="30" formatCode="0.00%">
                  <c:v>-0.78963414634146345</c:v>
                </c:pt>
                <c:pt idx="31" formatCode="0.00%">
                  <c:v>0.92753623188405798</c:v>
                </c:pt>
                <c:pt idx="32" formatCode="0.00%">
                  <c:v>-0.32330827067669177</c:v>
                </c:pt>
                <c:pt idx="33" formatCode="0.00%">
                  <c:v>-0.24444444444444446</c:v>
                </c:pt>
                <c:pt idx="34" formatCode="0.00%">
                  <c:v>0.26470588235294118</c:v>
                </c:pt>
                <c:pt idx="35" formatCode="0.00%">
                  <c:v>-1.1627906976744146E-2</c:v>
                </c:pt>
                <c:pt idx="36" formatCode="0.00%">
                  <c:v>0.11764705882352941</c:v>
                </c:pt>
                <c:pt idx="37" formatCode="0.00%">
                  <c:v>4.2105263157894778E-2</c:v>
                </c:pt>
                <c:pt idx="38" formatCode="0.00%">
                  <c:v>-0.33333333333333337</c:v>
                </c:pt>
                <c:pt idx="39" formatCode="0.00%">
                  <c:v>0.3636363636363637</c:v>
                </c:pt>
                <c:pt idx="40" formatCode="0.00%">
                  <c:v>-0.17777777777777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CF2-4278-AC08-16AAF0984A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2</a:t>
            </a:r>
            <a:endParaRPr lang="en-US" altLang="zh-CN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109004607422701"/>
          <c:y val="0.160939108356977"/>
          <c:w val="0.76103638249587602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AE5-4F5C-8DBA-C783DA39C1A0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E5-4F5C-8DBA-C783DA39C1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B$23:$B$2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E5-4F5C-8DBA-C783DA39C1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AE5-4F5C-8DBA-C783DA39C1A0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AE5-4F5C-8DBA-C783DA39C1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C$23:$C$29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AE5-4F5C-8DBA-C783DA39C1A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D$23:$D$2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AE5-4F5C-8DBA-C783DA39C1A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E$23:$E$29</c:f>
              <c:numCache>
                <c:formatCode>0%</c:formatCode>
                <c:ptCount val="7"/>
                <c:pt idx="0">
                  <c:v>-0.6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-0.75</c:v>
                </c:pt>
                <c:pt idx="5">
                  <c:v>0</c:v>
                </c:pt>
                <c:pt idx="6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AE5-4F5C-8DBA-C783DA39C1A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  <c:userShapes r:id="rId4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35-43BA-BC9C-6DB118DB7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35-43BA-BC9C-6DB118DB71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0.00</c:formatCode>
                <c:ptCount val="41"/>
                <c:pt idx="0">
                  <c:v>0.4</c:v>
                </c:pt>
                <c:pt idx="1">
                  <c:v>21.650000000000002</c:v>
                </c:pt>
                <c:pt idx="2">
                  <c:v>18.700000000000003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34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554</c:v>
                </c:pt>
                <c:pt idx="9">
                  <c:v>19.36</c:v>
                </c:pt>
                <c:pt idx="10">
                  <c:v>19.518181818181816</c:v>
                </c:pt>
                <c:pt idx="11">
                  <c:v>19.074999999999999</c:v>
                </c:pt>
                <c:pt idx="12">
                  <c:v>18.492307692307691</c:v>
                </c:pt>
                <c:pt idx="13">
                  <c:v>18.271428571428569</c:v>
                </c:pt>
                <c:pt idx="14">
                  <c:v>18.553333333333331</c:v>
                </c:pt>
                <c:pt idx="15">
                  <c:v>17.781249999999996</c:v>
                </c:pt>
                <c:pt idx="16">
                  <c:v>17.399999999999999</c:v>
                </c:pt>
                <c:pt idx="17">
                  <c:v>16.805555555555554</c:v>
                </c:pt>
                <c:pt idx="18">
                  <c:v>16.626315789473679</c:v>
                </c:pt>
                <c:pt idx="19">
                  <c:v>16.539999999999996</c:v>
                </c:pt>
                <c:pt idx="20">
                  <c:v>16.528571428571425</c:v>
                </c:pt>
                <c:pt idx="21">
                  <c:v>16.304545454545451</c:v>
                </c:pt>
                <c:pt idx="22">
                  <c:v>15.98260869565217</c:v>
                </c:pt>
                <c:pt idx="23">
                  <c:v>15.529166666666663</c:v>
                </c:pt>
                <c:pt idx="24">
                  <c:v>15.215999999999998</c:v>
                </c:pt>
                <c:pt idx="25">
                  <c:v>15.069230769230765</c:v>
                </c:pt>
                <c:pt idx="26">
                  <c:v>14.762962962962959</c:v>
                </c:pt>
                <c:pt idx="27">
                  <c:v>14.374999999999996</c:v>
                </c:pt>
                <c:pt idx="28">
                  <c:v>14.220689655172409</c:v>
                </c:pt>
                <c:pt idx="29">
                  <c:v>14.839999999999996</c:v>
                </c:pt>
                <c:pt idx="30">
                  <c:v>14.58387096774193</c:v>
                </c:pt>
                <c:pt idx="31">
                  <c:v>14.543749999999996</c:v>
                </c:pt>
                <c:pt idx="32">
                  <c:v>14.375757575757572</c:v>
                </c:pt>
                <c:pt idx="33">
                  <c:v>14.152941176470584</c:v>
                </c:pt>
                <c:pt idx="34">
                  <c:v>13.994285714285711</c:v>
                </c:pt>
                <c:pt idx="35">
                  <c:v>13.841666666666663</c:v>
                </c:pt>
                <c:pt idx="36">
                  <c:v>13.724324324324321</c:v>
                </c:pt>
                <c:pt idx="37">
                  <c:v>13.623684210526314</c:v>
                </c:pt>
                <c:pt idx="38">
                  <c:v>13.443589743589742</c:v>
                </c:pt>
                <c:pt idx="39">
                  <c:v>13.3325</c:v>
                </c:pt>
                <c:pt idx="40">
                  <c:v>13.187804878048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35-43BA-BC9C-6DB118DB7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7017344"/>
        <c:crosses val="autoZero"/>
        <c:auto val="0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95-4BCD-99D3-894C2029D1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895-4BCD-99D3-894C2029D1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0.00</c:formatCode>
                <c:ptCount val="41"/>
                <c:pt idx="0">
                  <c:v>0.2</c:v>
                </c:pt>
                <c:pt idx="1">
                  <c:v>6.128571428571429</c:v>
                </c:pt>
                <c:pt idx="2">
                  <c:v>1.8285714285714287</c:v>
                </c:pt>
                <c:pt idx="3">
                  <c:v>3.9</c:v>
                </c:pt>
                <c:pt idx="4">
                  <c:v>2.2142857142857144</c:v>
                </c:pt>
                <c:pt idx="5">
                  <c:v>1.0285714285714285</c:v>
                </c:pt>
                <c:pt idx="6">
                  <c:v>3.6428571428571423</c:v>
                </c:pt>
                <c:pt idx="7">
                  <c:v>1.1285714285714286</c:v>
                </c:pt>
                <c:pt idx="8">
                  <c:v>1.7428571428571431</c:v>
                </c:pt>
                <c:pt idx="9">
                  <c:v>5.9857142857142858</c:v>
                </c:pt>
                <c:pt idx="10">
                  <c:v>3.0142857142857147</c:v>
                </c:pt>
                <c:pt idx="11">
                  <c:v>2.0285714285714285</c:v>
                </c:pt>
                <c:pt idx="12">
                  <c:v>1.6428571428571428</c:v>
                </c:pt>
                <c:pt idx="13">
                  <c:v>2.2000000000000002</c:v>
                </c:pt>
                <c:pt idx="14">
                  <c:v>3.2142857142857144</c:v>
                </c:pt>
                <c:pt idx="15">
                  <c:v>0.88571428571428579</c:v>
                </c:pt>
                <c:pt idx="16">
                  <c:v>1.6142857142857143</c:v>
                </c:pt>
                <c:pt idx="17">
                  <c:v>0.95714285714285718</c:v>
                </c:pt>
                <c:pt idx="18">
                  <c:v>1.9142857142857144</c:v>
                </c:pt>
                <c:pt idx="19">
                  <c:v>2.1285714285714286</c:v>
                </c:pt>
                <c:pt idx="20">
                  <c:v>2.3285714285714287</c:v>
                </c:pt>
                <c:pt idx="21">
                  <c:v>1.657142857142857</c:v>
                </c:pt>
                <c:pt idx="22">
                  <c:v>1.2714285714285716</c:v>
                </c:pt>
                <c:pt idx="23">
                  <c:v>0.72857142857142854</c:v>
                </c:pt>
                <c:pt idx="24">
                  <c:v>1.1000000000000001</c:v>
                </c:pt>
                <c:pt idx="25">
                  <c:v>1.6285714285714286</c:v>
                </c:pt>
                <c:pt idx="26">
                  <c:v>0.97142857142857142</c:v>
                </c:pt>
                <c:pt idx="27">
                  <c:v>0.55714285714285716</c:v>
                </c:pt>
                <c:pt idx="28">
                  <c:v>1.4142857142857144</c:v>
                </c:pt>
                <c:pt idx="29">
                  <c:v>4.6857142857142851</c:v>
                </c:pt>
                <c:pt idx="30">
                  <c:v>0.98571428571428577</c:v>
                </c:pt>
                <c:pt idx="31">
                  <c:v>1.9000000000000001</c:v>
                </c:pt>
                <c:pt idx="32">
                  <c:v>1.2857142857142858</c:v>
                </c:pt>
                <c:pt idx="33">
                  <c:v>0.97142857142857142</c:v>
                </c:pt>
                <c:pt idx="34">
                  <c:v>1.2285714285714284</c:v>
                </c:pt>
                <c:pt idx="35">
                  <c:v>1.2142857142857142</c:v>
                </c:pt>
                <c:pt idx="36">
                  <c:v>1.3571428571428572</c:v>
                </c:pt>
                <c:pt idx="37">
                  <c:v>1.4142857142857144</c:v>
                </c:pt>
                <c:pt idx="38">
                  <c:v>0.94285714285714284</c:v>
                </c:pt>
                <c:pt idx="39">
                  <c:v>1.2857142857142858</c:v>
                </c:pt>
                <c:pt idx="40">
                  <c:v>1.05714285714285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95-4BCD-99D3-894C2029D1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3091328"/>
        <c:crosses val="autoZero"/>
        <c:auto val="0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4B3-4B01-A52A-E282AEF7F82A}"/>
              </c:ext>
            </c:extLst>
          </c:dPt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4B3-4B01-A52A-E282AEF7F8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64.900000000000006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00000000000003</c:v>
                </c:pt>
                <c:pt idx="9">
                  <c:v>2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B3-4B01-A52A-E282AEF7F8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4B3-4B01-A52A-E282AEF7F82A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A4B3-4B01-A52A-E282AEF7F82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1325115562403698</c:v>
                </c:pt>
                <c:pt idx="2" formatCode="0.00%">
                  <c:v>0.65390173410404617</c:v>
                </c:pt>
                <c:pt idx="3" formatCode="0.00%">
                  <c:v>0.26299694189602446</c:v>
                </c:pt>
                <c:pt idx="4" formatCode="0.00%">
                  <c:v>0.19854721549636803</c:v>
                </c:pt>
                <c:pt idx="5" formatCode="0.00%">
                  <c:v>0.1137085137085137</c:v>
                </c:pt>
                <c:pt idx="6" formatCode="0.00%">
                  <c:v>9.0697071780253963E-2</c:v>
                </c:pt>
                <c:pt idx="7" formatCode="0.00%">
                  <c:v>0.14326443335709194</c:v>
                </c:pt>
                <c:pt idx="8" formatCode="0.00%">
                  <c:v>7.9384871155444736E-2</c:v>
                </c:pt>
                <c:pt idx="9" formatCode="0.00%">
                  <c:v>4.100885637273777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B3-4B01-A52A-E282AEF7F82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1325115562403697</c:v>
                </c:pt>
                <c:pt idx="2" formatCode="0.00%">
                  <c:v>0.23129251700680273</c:v>
                </c:pt>
                <c:pt idx="3" formatCode="0.00%">
                  <c:v>-0.33480662983425413</c:v>
                </c:pt>
                <c:pt idx="4" formatCode="0.00%">
                  <c:v>-4.6511627906976813E-2</c:v>
                </c:pt>
                <c:pt idx="5" formatCode="0.00%">
                  <c:v>-0.31358885017421606</c:v>
                </c:pt>
                <c:pt idx="6" formatCode="0.00%">
                  <c:v>-0.11167512690355327</c:v>
                </c:pt>
                <c:pt idx="7" formatCode="0.00%">
                  <c:v>0.72285714285714275</c:v>
                </c:pt>
                <c:pt idx="8" formatCode="0.00%">
                  <c:v>-0.36650082918739629</c:v>
                </c:pt>
                <c:pt idx="9" formatCode="0.00%">
                  <c:v>-0.442408376963350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4B3-4B01-A52A-E282AEF7F8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3</a:t>
            </a:r>
          </a:p>
        </c:rich>
      </c:tx>
      <c:layout>
        <c:manualLayout>
          <c:xMode val="edge"/>
          <c:yMode val="edge"/>
          <c:x val="0.28373305188703302"/>
          <c:y val="1.44927536231884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41D-4991-A559-DDD36DCD6B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/yyyy</c:formatCode>
                <c:ptCount val="7"/>
                <c:pt idx="0">
                  <c:v>43843</c:v>
                </c:pt>
                <c:pt idx="1">
                  <c:v>43844</c:v>
                </c:pt>
                <c:pt idx="2">
                  <c:v>43845</c:v>
                </c:pt>
                <c:pt idx="3">
                  <c:v>43846</c:v>
                </c:pt>
                <c:pt idx="4">
                  <c:v>43847</c:v>
                </c:pt>
                <c:pt idx="5">
                  <c:v>43848</c:v>
                </c:pt>
                <c:pt idx="6">
                  <c:v>43849</c:v>
                </c:pt>
              </c:numCache>
            </c:numRef>
          </c:cat>
          <c:val>
            <c:numRef>
              <c:f>Sheet1!$B$23:$B$2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0FF-43BB-88F7-B4491426F2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23:$A$29</c:f>
              <c:numCache>
                <c:formatCode>m/d/yyyy</c:formatCode>
                <c:ptCount val="7"/>
                <c:pt idx="0">
                  <c:v>43843</c:v>
                </c:pt>
                <c:pt idx="1">
                  <c:v>43844</c:v>
                </c:pt>
                <c:pt idx="2">
                  <c:v>43845</c:v>
                </c:pt>
                <c:pt idx="3">
                  <c:v>43846</c:v>
                </c:pt>
                <c:pt idx="4">
                  <c:v>43847</c:v>
                </c:pt>
                <c:pt idx="5">
                  <c:v>43848</c:v>
                </c:pt>
                <c:pt idx="6">
                  <c:v>43849</c:v>
                </c:pt>
              </c:numCache>
            </c:numRef>
          </c:cat>
          <c:val>
            <c:numRef>
              <c:f>Sheet1!$C$23:$C$2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0FF-43BB-88F7-B4491426F23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50FF-43BB-88F7-B4491426F23A}"/>
              </c:ext>
            </c:extLst>
          </c:dPt>
          <c:cat>
            <c:numRef>
              <c:f>Sheet1!$A$23:$A$29</c:f>
              <c:numCache>
                <c:formatCode>m/d/yyyy</c:formatCode>
                <c:ptCount val="7"/>
                <c:pt idx="0">
                  <c:v>43843</c:v>
                </c:pt>
                <c:pt idx="1">
                  <c:v>43844</c:v>
                </c:pt>
                <c:pt idx="2">
                  <c:v>43845</c:v>
                </c:pt>
                <c:pt idx="3">
                  <c:v>43846</c:v>
                </c:pt>
                <c:pt idx="4">
                  <c:v>43847</c:v>
                </c:pt>
                <c:pt idx="5">
                  <c:v>43848</c:v>
                </c:pt>
                <c:pt idx="6">
                  <c:v>43849</c:v>
                </c:pt>
              </c:numCache>
            </c:numRef>
          </c:cat>
          <c:val>
            <c:numRef>
              <c:f>Sheet1!$D$23:$D$2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0FF-43BB-88F7-B4491426F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DF3-40A2-9D87-3A451B6168D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3:$A$29</c:f>
              <c:numCache>
                <c:formatCode>m/d/yyyy</c:formatCode>
                <c:ptCount val="7"/>
                <c:pt idx="0">
                  <c:v>43843</c:v>
                </c:pt>
                <c:pt idx="1">
                  <c:v>43844</c:v>
                </c:pt>
                <c:pt idx="2">
                  <c:v>43845</c:v>
                </c:pt>
                <c:pt idx="3">
                  <c:v>43846</c:v>
                </c:pt>
                <c:pt idx="4">
                  <c:v>43847</c:v>
                </c:pt>
                <c:pt idx="5">
                  <c:v>43848</c:v>
                </c:pt>
                <c:pt idx="6">
                  <c:v>43849</c:v>
                </c:pt>
              </c:numCache>
            </c:numRef>
          </c:cat>
          <c:val>
            <c:numRef>
              <c:f>Sheet1!$E$23:$E$29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.2</c:v>
                </c:pt>
                <c:pt idx="3">
                  <c:v>-0.16666666666666666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0FF-43BB-88F7-B4491426F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2</a:t>
            </a:r>
          </a:p>
        </c:rich>
      </c:tx>
      <c:layout>
        <c:manualLayout>
          <c:xMode val="edge"/>
          <c:yMode val="edge"/>
          <c:x val="0.28373305188703302"/>
          <c:y val="1.44927536231884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/yyyy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B$16:$B$2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52-4D71-B8EC-8C07BEDC232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16:$A$22</c:f>
              <c:numCache>
                <c:formatCode>m/d/yyyy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C$16:$C$2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52-4D71-B8EC-8C07BEDC232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852-4D71-B8EC-8C07BEDC2326}"/>
              </c:ext>
            </c:extLst>
          </c:dPt>
          <c:cat>
            <c:numRef>
              <c:f>Sheet1!$A$16:$A$22</c:f>
              <c:numCache>
                <c:formatCode>m/d/yyyy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D$16:$D$2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852-4D71-B8EC-8C07BEDC23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852-4D71-B8EC-8C07BEDC23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6:$A$22</c:f>
              <c:numCache>
                <c:formatCode>m/d/yyyy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E$16:$E$22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.5</c:v>
                </c:pt>
                <c:pt idx="4">
                  <c:v>-0.6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852-4D71-B8EC-8C07BEDC23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6.8890075988275637E-2"/>
          <c:y val="8.2755886458560898E-2"/>
          <c:w val="0.83566388270874092"/>
          <c:h val="0.71878493129535304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629-4B6C-BA4C-1FA3C611AA91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629-4B6C-BA4C-1FA3C611AA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629-4B6C-BA4C-1FA3C611AA91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629-4B6C-BA4C-1FA3C611AA91}"/>
              </c:ext>
            </c:extLst>
          </c:dPt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629-4B6C-BA4C-1FA3C611AA91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629-4B6C-BA4C-1FA3C611AA91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629-4B6C-BA4C-1FA3C611AA9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629-4B6C-BA4C-1FA3C611AA9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629-4B6C-BA4C-1FA3C611AA9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629-4B6C-BA4C-1FA3C611AA9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629-4B6C-BA4C-1FA3C611AA9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629-4B6C-BA4C-1FA3C611AA9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629-4B6C-BA4C-1FA3C611AA91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629-4B6C-BA4C-1FA3C611AA9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629-4B6C-BA4C-1FA3C611AA9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629-4B6C-BA4C-1FA3C611AA9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434-4498-9C12-1C2CE627FB6E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434-4498-9C12-1C2CE627FB6E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1EC-4B58-9320-8B2F91D2DE44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4B0-45AD-8418-5129DCFA0658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C0D-4C21-B5F0-C27A387934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General</c:formatCode>
                <c:ptCount val="41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629-4B6C-BA4C-1FA3C611AA9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629-4B6C-BA4C-1FA3C611AA9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629-4B6C-BA4C-1FA3C611AA9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4629-4B6C-BA4C-1FA3C611AA9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629-4B6C-BA4C-1FA3C611AA9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4629-4B6C-BA4C-1FA3C611AA9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4629-4B6C-BA4C-1FA3C611AA9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4629-4B6C-BA4C-1FA3C611AA91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C0D-4C21-B5F0-C27A387934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D$2:$D$42</c:f>
              <c:numCache>
                <c:formatCode>General</c:formatCode>
                <c:ptCount val="41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4629-4B6C-BA4C-1FA3C611A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E$2:$E$42</c:f>
              <c:numCache>
                <c:formatCode>0.00%</c:formatCode>
                <c:ptCount val="41"/>
                <c:pt idx="0">
                  <c:v>1</c:v>
                </c:pt>
                <c:pt idx="1">
                  <c:v>9.75</c:v>
                </c:pt>
                <c:pt idx="2">
                  <c:v>0.81395348837209303</c:v>
                </c:pt>
                <c:pt idx="3">
                  <c:v>0.42307692307692307</c:v>
                </c:pt>
                <c:pt idx="4">
                  <c:v>0.40540540540540543</c:v>
                </c:pt>
                <c:pt idx="5">
                  <c:v>0.14743589743589744</c:v>
                </c:pt>
                <c:pt idx="6">
                  <c:v>0.35754189944134079</c:v>
                </c:pt>
                <c:pt idx="7">
                  <c:v>7.407407407407407E-2</c:v>
                </c:pt>
                <c:pt idx="8">
                  <c:v>3.8314176245210725E-2</c:v>
                </c:pt>
                <c:pt idx="9">
                  <c:v>0.28782287822878228</c:v>
                </c:pt>
                <c:pt idx="10">
                  <c:v>3.7249283667621778E-2</c:v>
                </c:pt>
                <c:pt idx="11">
                  <c:v>2.4861878453038673E-2</c:v>
                </c:pt>
                <c:pt idx="12">
                  <c:v>3.2345013477088951E-2</c:v>
                </c:pt>
                <c:pt idx="13">
                  <c:v>1.5665796344647518E-2</c:v>
                </c:pt>
                <c:pt idx="14">
                  <c:v>1.0282776349614395E-2</c:v>
                </c:pt>
                <c:pt idx="15">
                  <c:v>7.6335877862595417E-3</c:v>
                </c:pt>
                <c:pt idx="16">
                  <c:v>7.575757575757576E-3</c:v>
                </c:pt>
                <c:pt idx="17">
                  <c:v>5.0125313283208017E-3</c:v>
                </c:pt>
                <c:pt idx="18">
                  <c:v>2.4937655860349127E-3</c:v>
                </c:pt>
                <c:pt idx="19">
                  <c:v>2.736318407960199E-2</c:v>
                </c:pt>
                <c:pt idx="20">
                  <c:v>2.6634382566585957E-2</c:v>
                </c:pt>
                <c:pt idx="21">
                  <c:v>1.4150943396226415E-2</c:v>
                </c:pt>
                <c:pt idx="22">
                  <c:v>3.0232558139534883E-2</c:v>
                </c:pt>
                <c:pt idx="23">
                  <c:v>1.3544018058690745E-2</c:v>
                </c:pt>
                <c:pt idx="24">
                  <c:v>1.3363028953229399E-2</c:v>
                </c:pt>
                <c:pt idx="25">
                  <c:v>1.7582417582417582E-2</c:v>
                </c:pt>
                <c:pt idx="26">
                  <c:v>1.079913606911447E-2</c:v>
                </c:pt>
                <c:pt idx="27">
                  <c:v>1.0683760683760684E-2</c:v>
                </c:pt>
                <c:pt idx="28">
                  <c:v>1.4799154334038054E-2</c:v>
                </c:pt>
                <c:pt idx="29">
                  <c:v>1.2500000000000001E-2</c:v>
                </c:pt>
                <c:pt idx="30">
                  <c:v>1.0288065843621399E-2</c:v>
                </c:pt>
                <c:pt idx="31">
                  <c:v>8.1466395112016286E-3</c:v>
                </c:pt>
                <c:pt idx="32">
                  <c:v>1.8181818181818181E-2</c:v>
                </c:pt>
                <c:pt idx="33">
                  <c:v>5.9523809523809521E-3</c:v>
                </c:pt>
                <c:pt idx="34">
                  <c:v>1.7751479289940829E-2</c:v>
                </c:pt>
                <c:pt idx="35">
                  <c:v>3.875968992248062E-3</c:v>
                </c:pt>
                <c:pt idx="36">
                  <c:v>1.9305019305019305E-3</c:v>
                </c:pt>
                <c:pt idx="37">
                  <c:v>1.9267822736030828E-3</c:v>
                </c:pt>
                <c:pt idx="38">
                  <c:v>1.9230769230769232E-3</c:v>
                </c:pt>
                <c:pt idx="39">
                  <c:v>5.7581573896353169E-3</c:v>
                </c:pt>
                <c:pt idx="40">
                  <c:v>1.908396946564885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4629-4B6C-BA4C-1FA3C611AA91}"/>
            </c:ext>
          </c:extLst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F$2:$F$42</c:f>
              <c:numCache>
                <c:formatCode>0.00%</c:formatCode>
                <c:ptCount val="41"/>
                <c:pt idx="0">
                  <c:v>0</c:v>
                </c:pt>
                <c:pt idx="1">
                  <c:v>8.75</c:v>
                </c:pt>
                <c:pt idx="2">
                  <c:v>-0.26535480023852115</c:v>
                </c:pt>
                <c:pt idx="3">
                  <c:v>-5.7142857142857141E-2</c:v>
                </c:pt>
                <c:pt idx="4">
                  <c:v>0.36363636363636365</c:v>
                </c:pt>
                <c:pt idx="5">
                  <c:v>-0.48888888888888887</c:v>
                </c:pt>
                <c:pt idx="6">
                  <c:v>1.7826086956521738</c:v>
                </c:pt>
                <c:pt idx="7">
                  <c:v>-0.71875</c:v>
                </c:pt>
                <c:pt idx="8">
                  <c:v>-0.44444444444444442</c:v>
                </c:pt>
                <c:pt idx="9">
                  <c:v>6.8</c:v>
                </c:pt>
                <c:pt idx="10">
                  <c:v>-0.83333333333333337</c:v>
                </c:pt>
                <c:pt idx="11">
                  <c:v>-0.30769230769230771</c:v>
                </c:pt>
                <c:pt idx="12">
                  <c:v>0.33333333333333331</c:v>
                </c:pt>
                <c:pt idx="13">
                  <c:v>-0.5</c:v>
                </c:pt>
                <c:pt idx="14">
                  <c:v>-0.33333333333333331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31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453</c:v>
                </c:pt>
                <c:pt idx="22">
                  <c:v>1.1666666666666667</c:v>
                </c:pt>
                <c:pt idx="23">
                  <c:v>-0.53846153846153844</c:v>
                </c:pt>
                <c:pt idx="24">
                  <c:v>0</c:v>
                </c:pt>
                <c:pt idx="25">
                  <c:v>0.33333333333333331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285</c:v>
                </c:pt>
                <c:pt idx="30">
                  <c:v>-0.16666666666666666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663</c:v>
                </c:pt>
                <c:pt idx="34">
                  <c:v>2</c:v>
                </c:pt>
                <c:pt idx="35">
                  <c:v>-0.77777777777777779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6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4629-4B6C-BA4C-1FA3C611A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270544527004499"/>
          <c:y val="0.13109854450011901"/>
          <c:w val="0.79008206720638796"/>
          <c:h val="0.560880696731089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5B-4251-8048-EC674C7F87B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General</c:formatCode>
                <c:ptCount val="41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5B-4251-8048-EC674C7F87B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D$2:$D$42</c:f>
              <c:numCache>
                <c:formatCode>General</c:formatCode>
                <c:ptCount val="41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5B-4251-8048-EC674C7F8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E$2:$E$42</c:f>
              <c:numCache>
                <c:formatCode>0</c:formatCode>
                <c:ptCount val="41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32</c:v>
                </c:pt>
                <c:pt idx="6">
                  <c:v>34.714285714285715</c:v>
                </c:pt>
                <c:pt idx="7">
                  <c:v>32.625</c:v>
                </c:pt>
                <c:pt idx="8">
                  <c:v>30.111111111111111</c:v>
                </c:pt>
                <c:pt idx="9">
                  <c:v>34.9</c:v>
                </c:pt>
                <c:pt idx="10">
                  <c:v>32.909090909090907</c:v>
                </c:pt>
                <c:pt idx="11">
                  <c:v>30.916666666666668</c:v>
                </c:pt>
                <c:pt idx="12">
                  <c:v>29.46153846153846</c:v>
                </c:pt>
                <c:pt idx="13">
                  <c:v>27.785714285714285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16</c:v>
                </c:pt>
                <c:pt idx="17">
                  <c:v>22.277777777777779</c:v>
                </c:pt>
                <c:pt idx="18">
                  <c:v>21.157894736842106</c:v>
                </c:pt>
                <c:pt idx="19">
                  <c:v>20.7</c:v>
                </c:pt>
                <c:pt idx="20">
                  <c:v>20.238095238095237</c:v>
                </c:pt>
                <c:pt idx="21">
                  <c:v>19.59090909090909</c:v>
                </c:pt>
                <c:pt idx="22">
                  <c:v>19.304347826086957</c:v>
                </c:pt>
                <c:pt idx="23">
                  <c:v>18.75</c:v>
                </c:pt>
                <c:pt idx="24">
                  <c:v>18.239999999999998</c:v>
                </c:pt>
                <c:pt idx="25">
                  <c:v>17.846153846153847</c:v>
                </c:pt>
                <c:pt idx="26">
                  <c:v>17.37037037037037</c:v>
                </c:pt>
                <c:pt idx="27">
                  <c:v>16.928571428571427</c:v>
                </c:pt>
                <c:pt idx="28">
                  <c:v>16.586206896551722</c:v>
                </c:pt>
                <c:pt idx="29">
                  <c:v>16.233333333333334</c:v>
                </c:pt>
                <c:pt idx="30">
                  <c:v>15.870967741935484</c:v>
                </c:pt>
                <c:pt idx="31">
                  <c:v>15.5</c:v>
                </c:pt>
                <c:pt idx="32">
                  <c:v>15.303030303030303</c:v>
                </c:pt>
                <c:pt idx="33">
                  <c:v>14.941176470588236</c:v>
                </c:pt>
                <c:pt idx="34">
                  <c:v>14.771428571428572</c:v>
                </c:pt>
                <c:pt idx="35">
                  <c:v>14.388888888888889</c:v>
                </c:pt>
                <c:pt idx="36">
                  <c:v>14.027027027027026</c:v>
                </c:pt>
                <c:pt idx="37">
                  <c:v>13.684210526315789</c:v>
                </c:pt>
                <c:pt idx="38">
                  <c:v>13.358974358974359</c:v>
                </c:pt>
                <c:pt idx="39">
                  <c:v>13.1</c:v>
                </c:pt>
                <c:pt idx="40">
                  <c:v>12.8048780487804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65B-4251-8048-EC674C7F8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01"/>
              <c:y val="0.760680028632784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560512"/>
        <c:crosses val="autoZero"/>
        <c:auto val="0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297"/>
          <c:w val="1"/>
          <c:h val="0.164653304700549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E$2:$E$42</c:f>
              <c:numCache>
                <c:formatCode>0.0</c:formatCode>
                <c:ptCount val="41"/>
                <c:pt idx="0">
                  <c:v>0.5</c:v>
                </c:pt>
                <c:pt idx="1">
                  <c:v>2.4285714285714284</c:v>
                </c:pt>
                <c:pt idx="2">
                  <c:v>4.4285714285714288</c:v>
                </c:pt>
                <c:pt idx="3">
                  <c:v>3.1428571428571428</c:v>
                </c:pt>
                <c:pt idx="4">
                  <c:v>4.4285714285714288</c:v>
                </c:pt>
                <c:pt idx="5">
                  <c:v>0.8571428571428571</c:v>
                </c:pt>
                <c:pt idx="6">
                  <c:v>1.4285714285714286</c:v>
                </c:pt>
                <c:pt idx="7">
                  <c:v>0.5714285714285714</c:v>
                </c:pt>
                <c:pt idx="8">
                  <c:v>1.1428571428571428</c:v>
                </c:pt>
                <c:pt idx="9">
                  <c:v>6.5714285714285712</c:v>
                </c:pt>
                <c:pt idx="10">
                  <c:v>1.4285714285714286</c:v>
                </c:pt>
                <c:pt idx="11">
                  <c:v>1.2857142857142858</c:v>
                </c:pt>
                <c:pt idx="12">
                  <c:v>1.5714285714285714</c:v>
                </c:pt>
                <c:pt idx="13">
                  <c:v>0.7142857142857143</c:v>
                </c:pt>
                <c:pt idx="14">
                  <c:v>0.5714285714285714</c:v>
                </c:pt>
                <c:pt idx="15">
                  <c:v>0.42857142857142855</c:v>
                </c:pt>
                <c:pt idx="16">
                  <c:v>0.2857142857142857</c:v>
                </c:pt>
                <c:pt idx="17">
                  <c:v>0.2857142857142857</c:v>
                </c:pt>
                <c:pt idx="18">
                  <c:v>0.14285714285714285</c:v>
                </c:pt>
                <c:pt idx="19">
                  <c:v>1.1428571428571428</c:v>
                </c:pt>
                <c:pt idx="20">
                  <c:v>1</c:v>
                </c:pt>
                <c:pt idx="21">
                  <c:v>0.8571428571428571</c:v>
                </c:pt>
                <c:pt idx="22">
                  <c:v>1.1428571428571428</c:v>
                </c:pt>
                <c:pt idx="23">
                  <c:v>0.7142857142857143</c:v>
                </c:pt>
                <c:pt idx="24">
                  <c:v>0.42857142857142855</c:v>
                </c:pt>
                <c:pt idx="25">
                  <c:v>0.8571428571428571</c:v>
                </c:pt>
                <c:pt idx="26">
                  <c:v>0.2857142857142857</c:v>
                </c:pt>
                <c:pt idx="27">
                  <c:v>0.5714285714285714</c:v>
                </c:pt>
                <c:pt idx="28">
                  <c:v>0.8571428571428571</c:v>
                </c:pt>
                <c:pt idx="29">
                  <c:v>0.42857142857142855</c:v>
                </c:pt>
                <c:pt idx="30">
                  <c:v>0.5714285714285714</c:v>
                </c:pt>
                <c:pt idx="31">
                  <c:v>0.5714285714285714</c:v>
                </c:pt>
                <c:pt idx="32">
                  <c:v>1.1428571428571428</c:v>
                </c:pt>
                <c:pt idx="33">
                  <c:v>0.2857142857142857</c:v>
                </c:pt>
                <c:pt idx="34">
                  <c:v>0.7142857142857143</c:v>
                </c:pt>
                <c:pt idx="35">
                  <c:v>0</c:v>
                </c:pt>
                <c:pt idx="36">
                  <c:v>0.14285714285714285</c:v>
                </c:pt>
                <c:pt idx="37">
                  <c:v>0.14285714285714285</c:v>
                </c:pt>
                <c:pt idx="38">
                  <c:v>0.14285714285714285</c:v>
                </c:pt>
                <c:pt idx="39">
                  <c:v>0.42857142857142855</c:v>
                </c:pt>
                <c:pt idx="40">
                  <c:v>0.14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E0-4838-AA27-1BC4E176B7F4}"/>
            </c:ext>
          </c:extLst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F$2:$F$42</c:f>
              <c:numCache>
                <c:formatCode>0.0</c:formatCode>
                <c:ptCount val="41"/>
                <c:pt idx="0">
                  <c:v>1</c:v>
                </c:pt>
                <c:pt idx="1">
                  <c:v>1.4285714285714286</c:v>
                </c:pt>
                <c:pt idx="2">
                  <c:v>0.2857142857142857</c:v>
                </c:pt>
                <c:pt idx="3">
                  <c:v>0.5714285714285714</c:v>
                </c:pt>
                <c:pt idx="4">
                  <c:v>1.2857142857142858</c:v>
                </c:pt>
                <c:pt idx="5">
                  <c:v>1</c:v>
                </c:pt>
                <c:pt idx="6">
                  <c:v>5.8571428571428568</c:v>
                </c:pt>
                <c:pt idx="7">
                  <c:v>0.8571428571428571</c:v>
                </c:pt>
                <c:pt idx="8">
                  <c:v>0.14285714285714285</c:v>
                </c:pt>
                <c:pt idx="9">
                  <c:v>1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57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285</c:v>
                </c:pt>
                <c:pt idx="25">
                  <c:v>0.14285714285714285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.14285714285714285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285</c:v>
                </c:pt>
                <c:pt idx="35">
                  <c:v>0.14285714285714285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E0-4838-AA27-1BC4E176B7F4}"/>
            </c:ext>
          </c:extLst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G$2:$G$42</c:f>
              <c:numCache>
                <c:formatCode>0.0</c:formatCode>
                <c:ptCount val="41"/>
                <c:pt idx="0">
                  <c:v>0.5</c:v>
                </c:pt>
                <c:pt idx="1">
                  <c:v>1.7142857142857142</c:v>
                </c:pt>
                <c:pt idx="2">
                  <c:v>0.2857142857142857</c:v>
                </c:pt>
                <c:pt idx="3">
                  <c:v>1</c:v>
                </c:pt>
                <c:pt idx="4">
                  <c:v>0.7142857142857143</c:v>
                </c:pt>
                <c:pt idx="5">
                  <c:v>1.4285714285714286</c:v>
                </c:pt>
                <c:pt idx="6">
                  <c:v>1.8571428571428572</c:v>
                </c:pt>
                <c:pt idx="7">
                  <c:v>1.1428571428571428</c:v>
                </c:pt>
                <c:pt idx="8">
                  <c:v>0.14285714285714285</c:v>
                </c:pt>
                <c:pt idx="9">
                  <c:v>3.5714285714285716</c:v>
                </c:pt>
                <c:pt idx="10">
                  <c:v>0.2857142857142857</c:v>
                </c:pt>
                <c:pt idx="11">
                  <c:v>0</c:v>
                </c:pt>
                <c:pt idx="12">
                  <c:v>0.14285714285714285</c:v>
                </c:pt>
                <c:pt idx="13">
                  <c:v>0.14285714285714285</c:v>
                </c:pt>
                <c:pt idx="14">
                  <c:v>0</c:v>
                </c:pt>
                <c:pt idx="15">
                  <c:v>0</c:v>
                </c:pt>
                <c:pt idx="16">
                  <c:v>0.14285714285714285</c:v>
                </c:pt>
                <c:pt idx="17">
                  <c:v>0</c:v>
                </c:pt>
                <c:pt idx="18">
                  <c:v>0</c:v>
                </c:pt>
                <c:pt idx="19">
                  <c:v>0.5714285714285714</c:v>
                </c:pt>
                <c:pt idx="20">
                  <c:v>0.2857142857142857</c:v>
                </c:pt>
                <c:pt idx="21">
                  <c:v>0</c:v>
                </c:pt>
                <c:pt idx="22">
                  <c:v>0.7142857142857143</c:v>
                </c:pt>
                <c:pt idx="23">
                  <c:v>0.14285714285714285</c:v>
                </c:pt>
                <c:pt idx="24">
                  <c:v>0.2857142857142857</c:v>
                </c:pt>
                <c:pt idx="25">
                  <c:v>0.14285714285714285</c:v>
                </c:pt>
                <c:pt idx="26">
                  <c:v>0.2857142857142857</c:v>
                </c:pt>
                <c:pt idx="27">
                  <c:v>0.14285714285714285</c:v>
                </c:pt>
                <c:pt idx="28">
                  <c:v>0.14285714285714285</c:v>
                </c:pt>
                <c:pt idx="29">
                  <c:v>0.2857142857142857</c:v>
                </c:pt>
                <c:pt idx="30">
                  <c:v>0.14285714285714285</c:v>
                </c:pt>
                <c:pt idx="31">
                  <c:v>0</c:v>
                </c:pt>
                <c:pt idx="32">
                  <c:v>0.14285714285714285</c:v>
                </c:pt>
                <c:pt idx="33">
                  <c:v>0.14285714285714285</c:v>
                </c:pt>
                <c:pt idx="34">
                  <c:v>0.42857142857142855</c:v>
                </c:pt>
                <c:pt idx="35">
                  <c:v>0.14285714285714285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E0-4838-AA27-1BC4E176B7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H$2:$H$42</c:f>
              <c:numCache>
                <c:formatCode>0</c:formatCode>
                <c:ptCount val="41"/>
                <c:pt idx="0">
                  <c:v>2</c:v>
                </c:pt>
                <c:pt idx="1">
                  <c:v>5.5714285714285712</c:v>
                </c:pt>
                <c:pt idx="2">
                  <c:v>5</c:v>
                </c:pt>
                <c:pt idx="3">
                  <c:v>4.7142857142857144</c:v>
                </c:pt>
                <c:pt idx="4">
                  <c:v>6.4285714285714288</c:v>
                </c:pt>
                <c:pt idx="5">
                  <c:v>3.2857142857142856</c:v>
                </c:pt>
                <c:pt idx="6">
                  <c:v>9.1428571428571423</c:v>
                </c:pt>
                <c:pt idx="7">
                  <c:v>2.5714285714285712</c:v>
                </c:pt>
                <c:pt idx="8">
                  <c:v>1.4285714285714284</c:v>
                </c:pt>
                <c:pt idx="9">
                  <c:v>11.142857142857142</c:v>
                </c:pt>
                <c:pt idx="10">
                  <c:v>1.8571428571428572</c:v>
                </c:pt>
                <c:pt idx="11">
                  <c:v>1.2857142857142858</c:v>
                </c:pt>
                <c:pt idx="12">
                  <c:v>1.7142857142857142</c:v>
                </c:pt>
                <c:pt idx="13">
                  <c:v>0.85714285714285721</c:v>
                </c:pt>
                <c:pt idx="14">
                  <c:v>0.5714285714285714</c:v>
                </c:pt>
                <c:pt idx="15">
                  <c:v>0.42857142857142855</c:v>
                </c:pt>
                <c:pt idx="16">
                  <c:v>0.42857142857142855</c:v>
                </c:pt>
                <c:pt idx="17">
                  <c:v>0.2857142857142857</c:v>
                </c:pt>
                <c:pt idx="18">
                  <c:v>0.14285714285714285</c:v>
                </c:pt>
                <c:pt idx="19">
                  <c:v>1.7142857142857142</c:v>
                </c:pt>
                <c:pt idx="20">
                  <c:v>1.5714285714285712</c:v>
                </c:pt>
                <c:pt idx="21">
                  <c:v>0.8571428571428571</c:v>
                </c:pt>
                <c:pt idx="22">
                  <c:v>1.8571428571428572</c:v>
                </c:pt>
                <c:pt idx="23">
                  <c:v>0.85714285714285721</c:v>
                </c:pt>
                <c:pt idx="24">
                  <c:v>0.8571428571428571</c:v>
                </c:pt>
                <c:pt idx="25">
                  <c:v>1.1428571428571428</c:v>
                </c:pt>
                <c:pt idx="26">
                  <c:v>0.71428571428571419</c:v>
                </c:pt>
                <c:pt idx="27">
                  <c:v>0.71428571428571419</c:v>
                </c:pt>
                <c:pt idx="28">
                  <c:v>1</c:v>
                </c:pt>
                <c:pt idx="29">
                  <c:v>0.8571428571428571</c:v>
                </c:pt>
                <c:pt idx="30">
                  <c:v>0.71428571428571419</c:v>
                </c:pt>
                <c:pt idx="31">
                  <c:v>0.5714285714285714</c:v>
                </c:pt>
                <c:pt idx="32">
                  <c:v>1.2857142857142856</c:v>
                </c:pt>
                <c:pt idx="33">
                  <c:v>0.42857142857142855</c:v>
                </c:pt>
                <c:pt idx="34">
                  <c:v>1.2857142857142858</c:v>
                </c:pt>
                <c:pt idx="35">
                  <c:v>0.2857142857142857</c:v>
                </c:pt>
                <c:pt idx="36">
                  <c:v>0.14285714285714285</c:v>
                </c:pt>
                <c:pt idx="37">
                  <c:v>0.14285714285714285</c:v>
                </c:pt>
                <c:pt idx="38">
                  <c:v>0.14285714285714285</c:v>
                </c:pt>
                <c:pt idx="39">
                  <c:v>0.42857142857142855</c:v>
                </c:pt>
                <c:pt idx="40">
                  <c:v>0.14285714285714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7E0-4838-AA27-1BC4E176B7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25024"/>
        <c:crosses val="autoZero"/>
        <c:auto val="0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68-4DDD-B1F9-9BE7E623E1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68-4DDD-B1F9-9BE7E623E15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B0CA9D6-39AC-4F8E-AEEA-D602F4E66440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19B0-4E3A-8083-76B70F323D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443CBCA2-C947-4E9F-8D45-5298CA134CC5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19B0-4E3A-8083-76B70F323D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768-4DDD-B1F9-9BE7E623E1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fld id="{87A68093-45A6-4F7C-B4AA-A89625285ABC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19B0-4E3A-8083-76B70F323D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38B3C2E-7319-4B01-90FA-48723D578359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9B0-4E3A-8083-76B70F323D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68-4DDD-B1F9-9BE7E623E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1.9318181818181819</c:v>
                </c:pt>
                <c:pt idx="2">
                  <c:v>0.43798449612403101</c:v>
                </c:pt>
                <c:pt idx="3">
                  <c:v>7.277628032345014E-2</c:v>
                </c:pt>
                <c:pt idx="4">
                  <c:v>6.5326633165829151E-2</c:v>
                </c:pt>
                <c:pt idx="5">
                  <c:v>7.5471698113207544E-2</c:v>
                </c:pt>
                <c:pt idx="6">
                  <c:v>5.921052631578947E-2</c:v>
                </c:pt>
                <c:pt idx="7">
                  <c:v>4.9689440993788817E-2</c:v>
                </c:pt>
                <c:pt idx="8">
                  <c:v>2.564102564102564E-2</c:v>
                </c:pt>
                <c:pt idx="9">
                  <c:v>9.615384615384615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768-4DDD-B1F9-9BE7E623E15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0.93181818181818177</c:v>
                </c:pt>
                <c:pt idx="2">
                  <c:v>-0.3352941176470588</c:v>
                </c:pt>
                <c:pt idx="3">
                  <c:v>-0.76106194690265483</c:v>
                </c:pt>
                <c:pt idx="4">
                  <c:v>-3.7037037037037035E-2</c:v>
                </c:pt>
                <c:pt idx="5">
                  <c:v>0.23076923076923078</c:v>
                </c:pt>
                <c:pt idx="6">
                  <c:v>-0.15625</c:v>
                </c:pt>
                <c:pt idx="7">
                  <c:v>-0.1111111111111111</c:v>
                </c:pt>
                <c:pt idx="8">
                  <c:v>-0.45833333333333331</c:v>
                </c:pt>
                <c:pt idx="9">
                  <c:v>-0.615384615384615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768-4DDD-B1F9-9BE7E623E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48F-43ED-BF12-92B4B3ED5E5F}"/>
              </c:ext>
            </c:extLst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48F-43ED-BF12-92B4B3ED5E5F}"/>
              </c:ext>
            </c:extLst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48F-43ED-BF12-92B4B3ED5E5F}"/>
              </c:ext>
            </c:extLst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  <a:endParaRPr lang="zh-CN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10</c:v>
                </c:pt>
                <c:pt idx="1">
                  <c:v>98</c:v>
                </c:pt>
                <c:pt idx="2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48F-43ED-BF12-92B4B3ED5E5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none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AB-4177-8E9F-A81FB5EB0C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General</c:formatCode>
                <c:ptCount val="41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AB-4177-8E9F-A81FB5EB0CF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637-442C-8F0C-59A3094E99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D$2:$D$42</c:f>
              <c:numCache>
                <c:formatCode>General</c:formatCode>
                <c:ptCount val="41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AB-4177-8E9F-A81FB5EB0C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E$2:$E$42</c:f>
              <c:numCache>
                <c:formatCode>0.00%</c:formatCode>
                <c:ptCount val="41"/>
                <c:pt idx="0">
                  <c:v>0</c:v>
                </c:pt>
                <c:pt idx="1">
                  <c:v>6.875</c:v>
                </c:pt>
                <c:pt idx="2">
                  <c:v>0.44444444444444442</c:v>
                </c:pt>
                <c:pt idx="3">
                  <c:v>0.24175824175824176</c:v>
                </c:pt>
                <c:pt idx="4">
                  <c:v>0.36283185840707965</c:v>
                </c:pt>
                <c:pt idx="5">
                  <c:v>0.25974025974025972</c:v>
                </c:pt>
                <c:pt idx="6">
                  <c:v>0.13917525773195877</c:v>
                </c:pt>
                <c:pt idx="7">
                  <c:v>9.0497737556561084E-2</c:v>
                </c:pt>
                <c:pt idx="8">
                  <c:v>0.19917012448132779</c:v>
                </c:pt>
                <c:pt idx="9">
                  <c:v>0.53287197231833905</c:v>
                </c:pt>
                <c:pt idx="10">
                  <c:v>5.1918735891647853E-2</c:v>
                </c:pt>
                <c:pt idx="11">
                  <c:v>5.7939914163090127E-2</c:v>
                </c:pt>
                <c:pt idx="12">
                  <c:v>3.9175257731958762E-2</c:v>
                </c:pt>
                <c:pt idx="13">
                  <c:v>4.6770601336302897E-2</c:v>
                </c:pt>
                <c:pt idx="14">
                  <c:v>4.2986425339366516E-2</c:v>
                </c:pt>
                <c:pt idx="15">
                  <c:v>3.4168564920273349E-2</c:v>
                </c:pt>
                <c:pt idx="16">
                  <c:v>4.1162227602905568E-2</c:v>
                </c:pt>
                <c:pt idx="17">
                  <c:v>6.4102564102564097E-2</c:v>
                </c:pt>
                <c:pt idx="18">
                  <c:v>2.3195876288659795E-2</c:v>
                </c:pt>
                <c:pt idx="19">
                  <c:v>0.10079575596816977</c:v>
                </c:pt>
                <c:pt idx="20">
                  <c:v>0.10626702997275204</c:v>
                </c:pt>
                <c:pt idx="21">
                  <c:v>9.5238095238095233E-2</c:v>
                </c:pt>
                <c:pt idx="22">
                  <c:v>0.11067193675889328</c:v>
                </c:pt>
                <c:pt idx="23">
                  <c:v>9.055118110236221E-2</c:v>
                </c:pt>
                <c:pt idx="24">
                  <c:v>0.10852713178294573</c:v>
                </c:pt>
                <c:pt idx="25">
                  <c:v>7.9245283018867921E-2</c:v>
                </c:pt>
                <c:pt idx="26">
                  <c:v>5.2434456928838954E-2</c:v>
                </c:pt>
                <c:pt idx="27">
                  <c:v>5.2631578947368418E-2</c:v>
                </c:pt>
                <c:pt idx="28">
                  <c:v>6.0836501901140684E-2</c:v>
                </c:pt>
                <c:pt idx="29">
                  <c:v>9.8425196850393706E-2</c:v>
                </c:pt>
                <c:pt idx="30">
                  <c:v>6.6666666666666666E-2</c:v>
                </c:pt>
                <c:pt idx="31">
                  <c:v>0.08</c:v>
                </c:pt>
                <c:pt idx="32">
                  <c:v>0.12987012987012986</c:v>
                </c:pt>
                <c:pt idx="33">
                  <c:v>8.4388185654008435E-2</c:v>
                </c:pt>
                <c:pt idx="34">
                  <c:v>0.13100436681222707</c:v>
                </c:pt>
                <c:pt idx="35">
                  <c:v>8.050847457627118E-2</c:v>
                </c:pt>
                <c:pt idx="36">
                  <c:v>6.1674008810572688E-2</c:v>
                </c:pt>
                <c:pt idx="37">
                  <c:v>5.4545454545454543E-2</c:v>
                </c:pt>
                <c:pt idx="38">
                  <c:v>0.11467889908256881</c:v>
                </c:pt>
                <c:pt idx="39">
                  <c:v>5.2401746724890827E-2</c:v>
                </c:pt>
                <c:pt idx="40">
                  <c:v>0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8AB-4177-8E9F-A81FB5EB0CF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F$2:$F$42</c:f>
              <c:numCache>
                <c:formatCode>0.00%</c:formatCode>
                <c:ptCount val="41"/>
                <c:pt idx="0">
                  <c:v>0</c:v>
                </c:pt>
                <c:pt idx="1">
                  <c:v>5.875</c:v>
                </c:pt>
                <c:pt idx="2">
                  <c:v>-0.49090909090909091</c:v>
                </c:pt>
                <c:pt idx="3">
                  <c:v>-0.21428571428571427</c:v>
                </c:pt>
                <c:pt idx="4">
                  <c:v>0.86363636363636365</c:v>
                </c:pt>
                <c:pt idx="5">
                  <c:v>-2.4390243902439025E-2</c:v>
                </c:pt>
                <c:pt idx="6">
                  <c:v>-0.32500000000000001</c:v>
                </c:pt>
                <c:pt idx="7">
                  <c:v>-0.25925925925925924</c:v>
                </c:pt>
                <c:pt idx="8">
                  <c:v>1.4</c:v>
                </c:pt>
                <c:pt idx="9">
                  <c:v>2.2083333333333335</c:v>
                </c:pt>
                <c:pt idx="10">
                  <c:v>-0.85064935064935066</c:v>
                </c:pt>
                <c:pt idx="11">
                  <c:v>0.17391304347826086</c:v>
                </c:pt>
                <c:pt idx="12">
                  <c:v>-0.29629629629629628</c:v>
                </c:pt>
                <c:pt idx="13">
                  <c:v>0.10526315789473684</c:v>
                </c:pt>
                <c:pt idx="14">
                  <c:v>-9.5238095238095233E-2</c:v>
                </c:pt>
                <c:pt idx="15">
                  <c:v>-0.21052631578947367</c:v>
                </c:pt>
                <c:pt idx="16">
                  <c:v>0.13333333333333333</c:v>
                </c:pt>
                <c:pt idx="17">
                  <c:v>0.47058823529411764</c:v>
                </c:pt>
                <c:pt idx="18">
                  <c:v>-0.64</c:v>
                </c:pt>
                <c:pt idx="19">
                  <c:v>3.2222222222222223</c:v>
                </c:pt>
                <c:pt idx="20">
                  <c:v>2.6315789473684209E-2</c:v>
                </c:pt>
                <c:pt idx="21">
                  <c:v>-0.38461538461538464</c:v>
                </c:pt>
                <c:pt idx="22">
                  <c:v>0.16666666666666666</c:v>
                </c:pt>
                <c:pt idx="23">
                  <c:v>-0.17857142857142858</c:v>
                </c:pt>
                <c:pt idx="24">
                  <c:v>0.21739130434782608</c:v>
                </c:pt>
                <c:pt idx="25">
                  <c:v>-0.25</c:v>
                </c:pt>
                <c:pt idx="26">
                  <c:v>-0.33333333333333331</c:v>
                </c:pt>
                <c:pt idx="27">
                  <c:v>0</c:v>
                </c:pt>
                <c:pt idx="28">
                  <c:v>0.14285714285714285</c:v>
                </c:pt>
                <c:pt idx="29">
                  <c:v>0.5625</c:v>
                </c:pt>
                <c:pt idx="30">
                  <c:v>-0.28000000000000003</c:v>
                </c:pt>
                <c:pt idx="31">
                  <c:v>0.1111111111111111</c:v>
                </c:pt>
                <c:pt idx="32">
                  <c:v>0.5</c:v>
                </c:pt>
                <c:pt idx="33">
                  <c:v>-0.33333333333333331</c:v>
                </c:pt>
                <c:pt idx="34">
                  <c:v>0.5</c:v>
                </c:pt>
                <c:pt idx="35">
                  <c:v>-0.36666666666666664</c:v>
                </c:pt>
                <c:pt idx="36">
                  <c:v>-0.26315789473684209</c:v>
                </c:pt>
                <c:pt idx="37">
                  <c:v>-0.14285714285714285</c:v>
                </c:pt>
                <c:pt idx="38">
                  <c:v>1.0833333333333333</c:v>
                </c:pt>
                <c:pt idx="39">
                  <c:v>-0.52</c:v>
                </c:pt>
                <c:pt idx="40">
                  <c:v>-0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58AB-4177-8E9F-A81FB5EB0CF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4.8546562094759903E-2"/>
          <c:y val="9.4451790198510299E-2"/>
          <c:w val="0.88298045754743004"/>
          <c:h val="0.7187849312953530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cat>
            <c:strRef>
              <c:f>Sheet1!$A$3:$A$42</c:f>
              <c:strCache>
                <c:ptCount val="40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  <c:pt idx="39">
                  <c:v>CW03</c:v>
                </c:pt>
              </c:strCache>
            </c:strRef>
          </c:cat>
          <c:val>
            <c:numRef>
              <c:f>Sheet1!$B$3:$B$42</c:f>
              <c:numCache>
                <c:formatCode>General</c:formatCode>
                <c:ptCount val="40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5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93-4FAE-8130-A46FF93EC7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cat>
            <c:strRef>
              <c:f>Sheet1!$A$3:$A$42</c:f>
              <c:strCache>
                <c:ptCount val="40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  <c:pt idx="39">
                  <c:v>CW03</c:v>
                </c:pt>
              </c:strCache>
            </c:strRef>
          </c:cat>
          <c:val>
            <c:numRef>
              <c:f>Sheet1!$C$3:$C$42</c:f>
              <c:numCache>
                <c:formatCode>General</c:formatCode>
                <c:ptCount val="40"/>
                <c:pt idx="0">
                  <c:v>3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93-4FAE-8130-A46FF93EC72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493-4FAE-8130-A46FF93EC721}"/>
              </c:ext>
            </c:extLst>
          </c:dPt>
          <c:cat>
            <c:strRef>
              <c:f>Sheet1!$A$3:$A$42</c:f>
              <c:strCache>
                <c:ptCount val="40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  <c:pt idx="39">
                  <c:v>CW03</c:v>
                </c:pt>
              </c:strCache>
            </c:strRef>
          </c:cat>
          <c:val>
            <c:numRef>
              <c:f>Sheet1!$D$3:$D$42</c:f>
              <c:numCache>
                <c:formatCode>General</c:formatCode>
                <c:ptCount val="40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3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493-4FAE-8130-A46FF93EC72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3:$A$42</c:f>
              <c:strCache>
                <c:ptCount val="40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  <c:pt idx="39">
                  <c:v>CW03</c:v>
                </c:pt>
              </c:strCache>
            </c:strRef>
          </c:cat>
          <c:val>
            <c:numRef>
              <c:f>Sheet1!$E$3:$E$42</c:f>
              <c:numCache>
                <c:formatCode>General</c:formatCode>
                <c:ptCount val="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93-4FAE-8130-A46FF93EC72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3:$A$42</c:f>
              <c:strCache>
                <c:ptCount val="40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  <c:pt idx="39">
                  <c:v>CW03</c:v>
                </c:pt>
              </c:strCache>
            </c:strRef>
          </c:cat>
          <c:val>
            <c:numRef>
              <c:f>Sheet1!$F$3:$F$42</c:f>
              <c:numCache>
                <c:formatCode>General</c:formatCode>
                <c:ptCount val="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93-4FAE-8130-A46FF93EC7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:$A$42</c:f>
              <c:strCache>
                <c:ptCount val="40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  <c:pt idx="39">
                  <c:v>CW03</c:v>
                </c:pt>
              </c:strCache>
            </c:strRef>
          </c:cat>
          <c:val>
            <c:numRef>
              <c:f>Sheet1!$G$3:$G$42</c:f>
              <c:numCache>
                <c:formatCode>0.00%</c:formatCode>
                <c:ptCount val="40"/>
                <c:pt idx="0" formatCode="0%">
                  <c:v>#N/A</c:v>
                </c:pt>
                <c:pt idx="1">
                  <c:v>0</c:v>
                </c:pt>
                <c:pt idx="2">
                  <c:v>0.125</c:v>
                </c:pt>
                <c:pt idx="3">
                  <c:v>0.1111111111111111</c:v>
                </c:pt>
                <c:pt idx="4">
                  <c:v>0</c:v>
                </c:pt>
                <c:pt idx="5">
                  <c:v>0</c:v>
                </c:pt>
                <c:pt idx="6">
                  <c:v>0.1</c:v>
                </c:pt>
                <c:pt idx="7">
                  <c:v>9.0909090909090912E-2</c:v>
                </c:pt>
                <c:pt idx="8">
                  <c:v>0.75</c:v>
                </c:pt>
                <c:pt idx="9">
                  <c:v>9.5238095238095233E-2</c:v>
                </c:pt>
                <c:pt idx="10">
                  <c:v>0</c:v>
                </c:pt>
                <c:pt idx="11">
                  <c:v>4.3478260869565216E-2</c:v>
                </c:pt>
                <c:pt idx="12">
                  <c:v>0</c:v>
                </c:pt>
                <c:pt idx="13">
                  <c:v>8.3333333333333329E-2</c:v>
                </c:pt>
                <c:pt idx="14">
                  <c:v>0</c:v>
                </c:pt>
                <c:pt idx="15">
                  <c:v>0</c:v>
                </c:pt>
                <c:pt idx="16">
                  <c:v>7.6923076923076927E-2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3.5714285714285712E-2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493-4FAE-8130-A46FF93EC72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:$A$42</c:f>
              <c:strCache>
                <c:ptCount val="40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  <c:pt idx="39">
                  <c:v>CW03</c:v>
                </c:pt>
              </c:strCache>
            </c:strRef>
          </c:cat>
          <c:val>
            <c:numRef>
              <c:f>Sheet1!$H$3:$H$42</c:f>
              <c:numCache>
                <c:formatCode>0.00%</c:formatCode>
                <c:ptCount val="40"/>
                <c:pt idx="0" formatCode="General">
                  <c:v>#N/A</c:v>
                </c:pt>
                <c:pt idx="1">
                  <c:v>#N/A</c:v>
                </c:pt>
                <c:pt idx="2">
                  <c:v>0</c:v>
                </c:pt>
                <c:pt idx="3">
                  <c:v>-1.2345679012345635E-2</c:v>
                </c:pt>
                <c:pt idx="4">
                  <c:v>-1</c:v>
                </c:pt>
                <c:pt idx="5">
                  <c:v>0</c:v>
                </c:pt>
                <c:pt idx="6">
                  <c:v>0</c:v>
                </c:pt>
                <c:pt idx="7">
                  <c:v>-8.2644628099175083E-3</c:v>
                </c:pt>
                <c:pt idx="8">
                  <c:v>7.9375000000000018</c:v>
                </c:pt>
                <c:pt idx="9">
                  <c:v>-0.78510378510378509</c:v>
                </c:pt>
                <c:pt idx="10">
                  <c:v>-1</c:v>
                </c:pt>
                <c:pt idx="11">
                  <c:v>0</c:v>
                </c:pt>
                <c:pt idx="12">
                  <c:v>-1</c:v>
                </c:pt>
                <c:pt idx="13">
                  <c:v>0</c:v>
                </c:pt>
                <c:pt idx="14">
                  <c:v>-1</c:v>
                </c:pt>
                <c:pt idx="15">
                  <c:v>0</c:v>
                </c:pt>
                <c:pt idx="16">
                  <c:v>0</c:v>
                </c:pt>
                <c:pt idx="17">
                  <c:v>-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-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493-4FAE-8130-A46FF93EC7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1581510415940301"/>
          <c:y val="0.115678480742669"/>
          <c:w val="0.77742429651611999"/>
          <c:h val="0.600184297614972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4:$A$42</c:f>
              <c:strCache>
                <c:ptCount val="39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  <c:pt idx="37">
                  <c:v>CW02</c:v>
                </c:pt>
                <c:pt idx="38">
                  <c:v>CW03</c:v>
                </c:pt>
              </c:strCache>
            </c:strRef>
          </c:cat>
          <c:val>
            <c:numRef>
              <c:f>Sheet1!$B$4:$B$42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5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96-4064-A20A-4B024757742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cat>
            <c:strRef>
              <c:f>Sheet1!$A$4:$A$42</c:f>
              <c:strCache>
                <c:ptCount val="39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  <c:pt idx="37">
                  <c:v>CW02</c:v>
                </c:pt>
                <c:pt idx="38">
                  <c:v>CW03</c:v>
                </c:pt>
              </c:strCache>
            </c:strRef>
          </c:cat>
          <c:val>
            <c:numRef>
              <c:f>Sheet1!$C$4:$C$42</c:f>
              <c:numCache>
                <c:formatCode>General</c:formatCode>
                <c:ptCount val="39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96-4064-A20A-4B02475774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cat>
            <c:strRef>
              <c:f>Sheet1!$A$4:$A$42</c:f>
              <c:strCache>
                <c:ptCount val="39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  <c:pt idx="37">
                  <c:v>CW02</c:v>
                </c:pt>
                <c:pt idx="38">
                  <c:v>CW03</c:v>
                </c:pt>
              </c:strCache>
            </c:strRef>
          </c:cat>
          <c:val>
            <c:numRef>
              <c:f>Sheet1!$D$4:$D$42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96-4064-A20A-4B024757742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4:$A$42</c:f>
              <c:strCache>
                <c:ptCount val="39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  <c:pt idx="37">
                  <c:v>CW02</c:v>
                </c:pt>
                <c:pt idx="38">
                  <c:v>CW03</c:v>
                </c:pt>
              </c:strCache>
            </c:strRef>
          </c:cat>
          <c:val>
            <c:numRef>
              <c:f>Sheet1!$E$4:$E$42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96-4064-A20A-4B024757742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4:$A$42</c:f>
              <c:strCache>
                <c:ptCount val="39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  <c:pt idx="37">
                  <c:v>CW02</c:v>
                </c:pt>
                <c:pt idx="38">
                  <c:v>CW03</c:v>
                </c:pt>
              </c:strCache>
            </c:strRef>
          </c:cat>
          <c:val>
            <c:numRef>
              <c:f>Sheet1!$F$4:$F$42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96-4064-A20A-4B0247577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:$A$42</c:f>
              <c:strCache>
                <c:ptCount val="39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  <c:pt idx="37">
                  <c:v>CW02</c:v>
                </c:pt>
                <c:pt idx="38">
                  <c:v>CW03</c:v>
                </c:pt>
              </c:strCache>
            </c:strRef>
          </c:cat>
          <c:val>
            <c:numRef>
              <c:f>Sheet1!$G$4:$G$42</c:f>
              <c:numCache>
                <c:formatCode>0</c:formatCode>
                <c:ptCount val="39"/>
                <c:pt idx="0">
                  <c:v>2.6666666666666665</c:v>
                </c:pt>
                <c:pt idx="1">
                  <c:v>2.25</c:v>
                </c:pt>
                <c:pt idx="2">
                  <c:v>2</c:v>
                </c:pt>
                <c:pt idx="3">
                  <c:v>1.6666666666666667</c:v>
                </c:pt>
                <c:pt idx="4">
                  <c:v>1.4285714285714286</c:v>
                </c:pt>
                <c:pt idx="5">
                  <c:v>1.375</c:v>
                </c:pt>
                <c:pt idx="6">
                  <c:v>1.3333333333333333</c:v>
                </c:pt>
                <c:pt idx="7">
                  <c:v>2.1</c:v>
                </c:pt>
                <c:pt idx="8">
                  <c:v>2.0909090909090908</c:v>
                </c:pt>
                <c:pt idx="9">
                  <c:v>1.9166666666666667</c:v>
                </c:pt>
                <c:pt idx="10">
                  <c:v>1.8461538461538463</c:v>
                </c:pt>
                <c:pt idx="11">
                  <c:v>1.7142857142857142</c:v>
                </c:pt>
                <c:pt idx="12">
                  <c:v>1.7333333333333334</c:v>
                </c:pt>
                <c:pt idx="13">
                  <c:v>1.625</c:v>
                </c:pt>
                <c:pt idx="14">
                  <c:v>1.5294117647058822</c:v>
                </c:pt>
                <c:pt idx="15">
                  <c:v>1.5555555555555556</c:v>
                </c:pt>
                <c:pt idx="16">
                  <c:v>1.4736842105263157</c:v>
                </c:pt>
                <c:pt idx="17">
                  <c:v>1.4</c:v>
                </c:pt>
                <c:pt idx="18">
                  <c:v>1.3333333333333333</c:v>
                </c:pt>
                <c:pt idx="19">
                  <c:v>1.2727272727272727</c:v>
                </c:pt>
                <c:pt idx="20">
                  <c:v>1.2173913043478262</c:v>
                </c:pt>
                <c:pt idx="21">
                  <c:v>1.1666666666666667</c:v>
                </c:pt>
                <c:pt idx="22">
                  <c:v>1.1200000000000001</c:v>
                </c:pt>
                <c:pt idx="23">
                  <c:v>1.0769230769230769</c:v>
                </c:pt>
                <c:pt idx="24">
                  <c:v>1.0740740740740742</c:v>
                </c:pt>
                <c:pt idx="25">
                  <c:v>1.0357142857142858</c:v>
                </c:pt>
                <c:pt idx="26">
                  <c:v>1</c:v>
                </c:pt>
                <c:pt idx="27">
                  <c:v>0.96666666666666667</c:v>
                </c:pt>
                <c:pt idx="28">
                  <c:v>0.93548387096774188</c:v>
                </c:pt>
                <c:pt idx="29">
                  <c:v>0.90625</c:v>
                </c:pt>
                <c:pt idx="30">
                  <c:v>0.87878787878787878</c:v>
                </c:pt>
                <c:pt idx="31">
                  <c:v>0.8529411764705882</c:v>
                </c:pt>
                <c:pt idx="32">
                  <c:v>0.82857142857142863</c:v>
                </c:pt>
                <c:pt idx="33">
                  <c:v>0.80555555555555558</c:v>
                </c:pt>
                <c:pt idx="34">
                  <c:v>0.78378378378378377</c:v>
                </c:pt>
                <c:pt idx="35">
                  <c:v>0.76315789473684215</c:v>
                </c:pt>
                <c:pt idx="36">
                  <c:v>0.74358974358974361</c:v>
                </c:pt>
                <c:pt idx="37">
                  <c:v>0.72499999999999998</c:v>
                </c:pt>
                <c:pt idx="38">
                  <c:v>0.707317073170731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96-4064-A20A-4B0247577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47328"/>
        <c:crosses val="autoZero"/>
        <c:auto val="0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4518523606278103E-2"/>
          <c:y val="0.847384307224755"/>
          <c:w val="0.90973386150913904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4676004350612601"/>
          <c:y val="0.126498595570291"/>
          <c:w val="0.76982477542419869"/>
          <c:h val="0.569815812497121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G$2:$G$42</c:f>
              <c:numCache>
                <c:formatCode>0.00</c:formatCode>
                <c:ptCount val="41"/>
                <c:pt idx="0">
                  <c:v>1</c:v>
                </c:pt>
                <c:pt idx="1">
                  <c:v>0.1428571428571428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285</c:v>
                </c:pt>
                <c:pt idx="9">
                  <c:v>0.7142857142857143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28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6A-4D00-A83B-4F05F51C2AA5}"/>
            </c:ext>
          </c:extLst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H$2:$H$42</c:f>
              <c:numCache>
                <c:formatCode>0.00</c:formatCode>
                <c:ptCount val="41"/>
                <c:pt idx="0">
                  <c:v>0</c:v>
                </c:pt>
                <c:pt idx="1">
                  <c:v>0.42857142857142855</c:v>
                </c:pt>
                <c:pt idx="2">
                  <c:v>0</c:v>
                </c:pt>
                <c:pt idx="3">
                  <c:v>0.14285714285714285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14285714285714285</c:v>
                </c:pt>
                <c:pt idx="8">
                  <c:v>0</c:v>
                </c:pt>
                <c:pt idx="9">
                  <c:v>0.14285714285714285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6A-4D00-A83B-4F05F51C2AA5}"/>
            </c:ext>
          </c:extLst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I$2:$I$42</c:f>
              <c:numCache>
                <c:formatCode>0.00</c:formatCode>
                <c:ptCount val="41"/>
                <c:pt idx="0">
                  <c:v>0.5</c:v>
                </c:pt>
                <c:pt idx="1">
                  <c:v>0.1428571428571428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855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285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6A-4D00-A83B-4F05F51C2AA5}"/>
            </c:ext>
          </c:extLst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J$2:$J$42</c:f>
              <c:numCache>
                <c:formatCode>0.00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285</c:v>
                </c:pt>
                <c:pt idx="13">
                  <c:v>0</c:v>
                </c:pt>
                <c:pt idx="14">
                  <c:v>0.14285714285714285</c:v>
                </c:pt>
                <c:pt idx="15">
                  <c:v>0</c:v>
                </c:pt>
                <c:pt idx="16">
                  <c:v>0</c:v>
                </c:pt>
                <c:pt idx="17">
                  <c:v>0.14285714285714285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56A-4D00-A83B-4F05F51C2AA5}"/>
            </c:ext>
          </c:extLst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K$2:$K$42</c:f>
              <c:numCache>
                <c:formatCode>0.00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56A-4D00-A83B-4F05F51C2A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56A-4D00-A83B-4F05F51C2AA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56A-4D00-A83B-4F05F51C2AA5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56A-4D00-A83B-4F05F51C2AA5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56A-4D00-A83B-4F05F51C2AA5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56A-4D00-A83B-4F05F51C2AA5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56A-4D00-A83B-4F05F51C2AA5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56A-4D00-A83B-4F05F51C2AA5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56A-4D00-A83B-4F05F51C2AA5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2C0-418E-80F8-921CEC7EE4BC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2C0-418E-80F8-921CEC7EE4BC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2C0-418E-80F8-921CEC7EE4BC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2C0-418E-80F8-921CEC7EE4BC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2C0-418E-80F8-921CEC7EE4BC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2C0-418E-80F8-921CEC7EE4BC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2C0-418E-80F8-921CEC7EE4BC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583-4359-8E9A-E5D7FC8AF566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583-4359-8E9A-E5D7FC8AF566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4B-4E58-ACC1-45D3969CD6C5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94B-4E58-ACC1-45D3969CD6C5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4B-4E58-ACC1-45D3969CD6C5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94B-4E58-ACC1-45D3969CD6C5}"/>
                </c:ext>
              </c:extLst>
            </c:dLbl>
            <c:dLbl>
              <c:idx val="3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94B-4E58-ACC1-45D3969CD6C5}"/>
                </c:ext>
              </c:extLst>
            </c:dLbl>
            <c:dLbl>
              <c:idx val="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3D0-45B0-A504-F6E1BB03519A}"/>
                </c:ext>
              </c:extLst>
            </c:dLbl>
            <c:dLbl>
              <c:idx val="3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3D0-45B0-A504-F6E1BB03519A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3D0-45B0-A504-F6E1BB03519A}"/>
                </c:ext>
              </c:extLst>
            </c:dLbl>
            <c:dLbl>
              <c:idx val="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40-4D20-BF43-9B93A03C964A}"/>
                </c:ext>
              </c:extLst>
            </c:dLbl>
            <c:dLbl>
              <c:idx val="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E40-4D20-BF43-9B93A03C96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L$2:$L$42</c:f>
              <c:numCache>
                <c:formatCode>0.00</c:formatCode>
                <c:ptCount val="41"/>
                <c:pt idx="0">
                  <c:v>1.5</c:v>
                </c:pt>
                <c:pt idx="1">
                  <c:v>0.71428571428571419</c:v>
                </c:pt>
                <c:pt idx="2">
                  <c:v>0</c:v>
                </c:pt>
                <c:pt idx="3">
                  <c:v>0.14285714285714285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14285714285714285</c:v>
                </c:pt>
                <c:pt idx="8">
                  <c:v>0.14285714285714285</c:v>
                </c:pt>
                <c:pt idx="9">
                  <c:v>1.2857142857142858</c:v>
                </c:pt>
                <c:pt idx="10">
                  <c:v>0.2857142857142857</c:v>
                </c:pt>
                <c:pt idx="11">
                  <c:v>0</c:v>
                </c:pt>
                <c:pt idx="12">
                  <c:v>0.14285714285714285</c:v>
                </c:pt>
                <c:pt idx="13">
                  <c:v>0</c:v>
                </c:pt>
                <c:pt idx="14">
                  <c:v>0.2857142857142857</c:v>
                </c:pt>
                <c:pt idx="15">
                  <c:v>0</c:v>
                </c:pt>
                <c:pt idx="16">
                  <c:v>0</c:v>
                </c:pt>
                <c:pt idx="17">
                  <c:v>0.2857142857142857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A56A-4D00-A83B-4F05F51C2A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729472"/>
        <c:crosses val="autoZero"/>
        <c:auto val="0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495"/>
          <c:w val="0.76403178925590198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05"/>
          <c:h val="0.46688833732739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29-4C91-A439-01C4854C94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29-4C91-A439-01C4854C94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129-4C91-A439-01C4854C940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29-4C91-A439-01C4854C94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129-4C91-A439-01C4854C940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29-4C91-A439-01C4854C940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129-4C91-A439-01C4854C940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129-4C91-A439-01C4854C940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F129-4C91-A439-01C4854C9408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F129-4C91-A439-01C4854C940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129-4C91-A439-01C4854C940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AB9-4952-A138-54128CF1BBD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989-4DA2-9751-8AED3B24C8E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71-406C-84E4-98F2E0E05A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129-4C91-A439-01C4854C940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129-4C91-A439-01C4854C94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G$2:$G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0.375</c:v>
                </c:pt>
                <c:pt idx="2">
                  <c:v>1.0909090909090908</c:v>
                </c:pt>
                <c:pt idx="3">
                  <c:v>0.13043478260869565</c:v>
                </c:pt>
                <c:pt idx="4">
                  <c:v>7.6923076923076927E-2</c:v>
                </c:pt>
                <c:pt idx="5">
                  <c:v>0</c:v>
                </c:pt>
                <c:pt idx="6">
                  <c:v>3.5714285714285712E-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F129-4C91-A439-01C4854C940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AB9-4952-A138-54128CF1BB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H$2:$H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-0.625</c:v>
                </c:pt>
                <c:pt idx="2">
                  <c:v>3</c:v>
                </c:pt>
                <c:pt idx="3">
                  <c:v>-0.75</c:v>
                </c:pt>
                <c:pt idx="4">
                  <c:v>-0.33333333333333331</c:v>
                </c:pt>
                <c:pt idx="5">
                  <c:v>-1</c:v>
                </c:pt>
                <c:pt idx="6">
                  <c:v>0</c:v>
                </c:pt>
                <c:pt idx="7">
                  <c:v>-1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F129-4C91-A439-01C4854C94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45"/>
              <c:y val="0.7984160488681614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543495123687704E-2"/>
          <c:y val="0.84406979825429795"/>
          <c:w val="0.78416586815536904"/>
          <c:h val="0.155930332078055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6.1720020784732502E-2"/>
          <c:y val="0.15454666512274201"/>
          <c:w val="0.86472904399469297"/>
          <c:h val="0.680120812104369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0E-4A37-A260-174BC1EF0F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5.6057597770260502E-2"/>
                  <c:y val="-1.47058823529412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109951932739903E-2"/>
                      <c:h val="3.462019453450670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F0E-4A37-A260-174BC1EF0F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0%</c:formatCode>
                <c:ptCount val="41"/>
                <c:pt idx="0">
                  <c:v>#N/A</c:v>
                </c:pt>
                <c:pt idx="1">
                  <c:v>#N/A</c:v>
                </c:pt>
                <c:pt idx="2" formatCode="0.00%">
                  <c:v>0.6</c:v>
                </c:pt>
                <c:pt idx="3" formatCode="0.00%">
                  <c:v>0.25</c:v>
                </c:pt>
                <c:pt idx="4" formatCode="0.00%">
                  <c:v>0.6</c:v>
                </c:pt>
                <c:pt idx="5" formatCode="0.00%">
                  <c:v>0</c:v>
                </c:pt>
                <c:pt idx="6" formatCode="0.00%">
                  <c:v>0.25</c:v>
                </c:pt>
                <c:pt idx="7" formatCode="0.00%">
                  <c:v>0.1</c:v>
                </c:pt>
                <c:pt idx="8" formatCode="0.00%">
                  <c:v>4.5454545454545456E-2</c:v>
                </c:pt>
                <c:pt idx="9" formatCode="0.00%">
                  <c:v>0.47826086956521741</c:v>
                </c:pt>
                <c:pt idx="10" formatCode="0.00%">
                  <c:v>0.14705882352941177</c:v>
                </c:pt>
                <c:pt idx="11" formatCode="0.00%">
                  <c:v>5.128205128205128E-2</c:v>
                </c:pt>
                <c:pt idx="12" formatCode="0.00%">
                  <c:v>4.878048780487805E-2</c:v>
                </c:pt>
                <c:pt idx="13" formatCode="0.00%">
                  <c:v>2.3255813953488372E-2</c:v>
                </c:pt>
                <c:pt idx="14" formatCode="0.00%">
                  <c:v>2.2727272727272728E-2</c:v>
                </c:pt>
                <c:pt idx="15" formatCode="0.00%">
                  <c:v>0</c:v>
                </c:pt>
                <c:pt idx="16" formatCode="0.00%">
                  <c:v>2.2222222222222223E-2</c:v>
                </c:pt>
                <c:pt idx="17" formatCode="0.00%">
                  <c:v>0</c:v>
                </c:pt>
                <c:pt idx="18" formatCode="0.00%">
                  <c:v>2.1739130434782608E-2</c:v>
                </c:pt>
                <c:pt idx="19" formatCode="0.00%">
                  <c:v>4.2553191489361701E-2</c:v>
                </c:pt>
                <c:pt idx="20" formatCode="0.00%">
                  <c:v>2.0408163265306121E-2</c:v>
                </c:pt>
                <c:pt idx="21" formatCode="0.00%">
                  <c:v>0.02</c:v>
                </c:pt>
                <c:pt idx="22" formatCode="0.00%">
                  <c:v>0</c:v>
                </c:pt>
                <c:pt idx="23" formatCode="0.00%">
                  <c:v>0</c:v>
                </c:pt>
                <c:pt idx="24" formatCode="0.00%">
                  <c:v>3.9215686274509803E-2</c:v>
                </c:pt>
                <c:pt idx="25" formatCode="0.00%">
                  <c:v>3.7735849056603772E-2</c:v>
                </c:pt>
                <c:pt idx="26" formatCode="0.00%">
                  <c:v>0</c:v>
                </c:pt>
                <c:pt idx="27" formatCode="0.00%">
                  <c:v>0</c:v>
                </c:pt>
                <c:pt idx="28" formatCode="0.00%">
                  <c:v>5.4545454545454543E-2</c:v>
                </c:pt>
                <c:pt idx="29" formatCode="0.00%">
                  <c:v>5.1724137931034482E-2</c:v>
                </c:pt>
                <c:pt idx="30" formatCode="0.00%">
                  <c:v>1.6393442622950821E-2</c:v>
                </c:pt>
                <c:pt idx="31" formatCode="0.00%">
                  <c:v>1.6129032258064516E-2</c:v>
                </c:pt>
                <c:pt idx="32" formatCode="0.00%">
                  <c:v>1.5873015873015872E-2</c:v>
                </c:pt>
                <c:pt idx="33" formatCode="0.00%">
                  <c:v>1.5625E-2</c:v>
                </c:pt>
                <c:pt idx="34" formatCode="0.00%">
                  <c:v>3.0769230769230771E-2</c:v>
                </c:pt>
                <c:pt idx="35" formatCode="0.00%">
                  <c:v>0</c:v>
                </c:pt>
                <c:pt idx="36" formatCode="0.00%">
                  <c:v>1.4925373134328358E-2</c:v>
                </c:pt>
                <c:pt idx="37" formatCode="0.00%">
                  <c:v>0</c:v>
                </c:pt>
                <c:pt idx="38" formatCode="0.00%">
                  <c:v>0</c:v>
                </c:pt>
                <c:pt idx="39" formatCode="0.00%">
                  <c:v>0</c:v>
                </c:pt>
                <c:pt idx="40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F0E-4A37-A260-174BC1EF0F4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5.6057597770260502E-2"/>
                  <c:y val="4.1666666666666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F0E-4A37-A260-174BC1EF0F4C}"/>
                </c:ext>
              </c:extLst>
            </c:dLbl>
            <c:dLbl>
              <c:idx val="12"/>
              <c:layout>
                <c:manualLayout>
                  <c:x val="-4.9539272448137099E-2"/>
                  <c:y val="2.6960784313725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F0E-4A37-A260-174BC1EF0F4C}"/>
                </c:ext>
              </c:extLst>
            </c:dLbl>
            <c:dLbl>
              <c:idx val="14"/>
              <c:layout>
                <c:manualLayout>
                  <c:x val="-4.6931942319287802E-2"/>
                  <c:y val="2.6960784313725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F0E-4A37-A260-174BC1EF0F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D$2:$D$42</c:f>
              <c:numCache>
                <c:formatCode>General</c:formatCode>
                <c:ptCount val="41"/>
                <c:pt idx="0" formatCode="0%">
                  <c:v>#N/A</c:v>
                </c:pt>
                <c:pt idx="1">
                  <c:v>#N/A</c:v>
                </c:pt>
                <c:pt idx="2" formatCode="0.00%">
                  <c:v>-0.4</c:v>
                </c:pt>
                <c:pt idx="3" formatCode="0.00%">
                  <c:v>-0.33333333333333331</c:v>
                </c:pt>
                <c:pt idx="4" formatCode="0.00%">
                  <c:v>2</c:v>
                </c:pt>
                <c:pt idx="5" formatCode="0.00%">
                  <c:v>-1</c:v>
                </c:pt>
                <c:pt idx="6" formatCode="0.00%">
                  <c:v>0</c:v>
                </c:pt>
                <c:pt idx="7" formatCode="0.00%">
                  <c:v>-0.5</c:v>
                </c:pt>
                <c:pt idx="8" formatCode="0.00%">
                  <c:v>-0.5</c:v>
                </c:pt>
                <c:pt idx="9" formatCode="0.00%">
                  <c:v>10</c:v>
                </c:pt>
                <c:pt idx="10" formatCode="0.00%">
                  <c:v>-0.54545454545454541</c:v>
                </c:pt>
                <c:pt idx="11" formatCode="0.00%">
                  <c:v>-0.6</c:v>
                </c:pt>
                <c:pt idx="12" formatCode="0.00%">
                  <c:v>0</c:v>
                </c:pt>
                <c:pt idx="13" formatCode="0.00%">
                  <c:v>-0.5</c:v>
                </c:pt>
                <c:pt idx="14" formatCode="0.00%">
                  <c:v>0</c:v>
                </c:pt>
                <c:pt idx="15" formatCode="0.00%">
                  <c:v>-1</c:v>
                </c:pt>
                <c:pt idx="16" formatCode="0.00%">
                  <c:v>0</c:v>
                </c:pt>
                <c:pt idx="17" formatCode="0.00%">
                  <c:v>-1</c:v>
                </c:pt>
                <c:pt idx="18" formatCode="0.00%">
                  <c:v>0</c:v>
                </c:pt>
                <c:pt idx="19" formatCode="0.00%">
                  <c:v>1</c:v>
                </c:pt>
                <c:pt idx="20" formatCode="0.00%">
                  <c:v>-0.5</c:v>
                </c:pt>
                <c:pt idx="21" formatCode="0.00%">
                  <c:v>0</c:v>
                </c:pt>
                <c:pt idx="22" formatCode="0.00%">
                  <c:v>-1</c:v>
                </c:pt>
                <c:pt idx="23" formatCode="0.00%">
                  <c:v>0</c:v>
                </c:pt>
                <c:pt idx="24" formatCode="0.00%">
                  <c:v>0</c:v>
                </c:pt>
                <c:pt idx="25" formatCode="0.00%">
                  <c:v>0</c:v>
                </c:pt>
                <c:pt idx="26" formatCode="0.00%">
                  <c:v>-1</c:v>
                </c:pt>
                <c:pt idx="27" formatCode="0.00%">
                  <c:v>0</c:v>
                </c:pt>
                <c:pt idx="28" formatCode="0.00%">
                  <c:v>0</c:v>
                </c:pt>
                <c:pt idx="29" formatCode="0.00%">
                  <c:v>0</c:v>
                </c:pt>
                <c:pt idx="30" formatCode="0.00%">
                  <c:v>-0.66666666666666663</c:v>
                </c:pt>
                <c:pt idx="31" formatCode="0.00%">
                  <c:v>0</c:v>
                </c:pt>
                <c:pt idx="32" formatCode="0.00%">
                  <c:v>0</c:v>
                </c:pt>
                <c:pt idx="33" formatCode="0.00%">
                  <c:v>0</c:v>
                </c:pt>
                <c:pt idx="34" formatCode="0.00%">
                  <c:v>1</c:v>
                </c:pt>
                <c:pt idx="35" formatCode="0.00%">
                  <c:v>-1</c:v>
                </c:pt>
                <c:pt idx="36" formatCode="0.00%">
                  <c:v>0</c:v>
                </c:pt>
                <c:pt idx="37" formatCode="0.00%">
                  <c:v>-1</c:v>
                </c:pt>
                <c:pt idx="38" formatCode="0.00%">
                  <c:v>0</c:v>
                </c:pt>
                <c:pt idx="39" formatCode="0.00%">
                  <c:v>0</c:v>
                </c:pt>
                <c:pt idx="40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7F0E-4A37-A260-174BC1EF0F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3:$A$42</c:f>
              <c:strCache>
                <c:ptCount val="40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  <c:pt idx="39">
                  <c:v>CW03</c:v>
                </c:pt>
              </c:strCache>
            </c:strRef>
          </c:cat>
          <c:val>
            <c:numRef>
              <c:f>Sheet1!$B$3:$B$42</c:f>
              <c:numCache>
                <c:formatCode>General</c:formatCode>
                <c:ptCount val="40"/>
                <c:pt idx="0">
                  <c:v>5</c:v>
                </c:pt>
                <c:pt idx="1">
                  <c:v>3</c:v>
                </c:pt>
                <c:pt idx="2">
                  <c:v>2</c:v>
                </c:pt>
                <c:pt idx="3">
                  <c:v>6</c:v>
                </c:pt>
                <c:pt idx="4">
                  <c:v>0</c:v>
                </c:pt>
                <c:pt idx="5">
                  <c:v>4</c:v>
                </c:pt>
                <c:pt idx="6">
                  <c:v>2</c:v>
                </c:pt>
                <c:pt idx="7">
                  <c:v>1</c:v>
                </c:pt>
                <c:pt idx="8">
                  <c:v>11</c:v>
                </c:pt>
                <c:pt idx="9">
                  <c:v>5</c:v>
                </c:pt>
                <c:pt idx="10">
                  <c:v>2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1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2</c:v>
                </c:pt>
                <c:pt idx="24">
                  <c:v>2</c:v>
                </c:pt>
                <c:pt idx="25">
                  <c:v>0</c:v>
                </c:pt>
                <c:pt idx="26">
                  <c:v>0</c:v>
                </c:pt>
                <c:pt idx="27">
                  <c:v>3</c:v>
                </c:pt>
                <c:pt idx="28">
                  <c:v>3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2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B3-4A31-B4EE-65992E9AC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B3-4A31-B4EE-65992E9AC8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2</c:f>
              <c:strCache>
                <c:ptCount val="40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  <c:pt idx="39">
                  <c:v>CW03</c:v>
                </c:pt>
              </c:strCache>
            </c:strRef>
          </c:cat>
          <c:val>
            <c:numRef>
              <c:f>Sheet1!$C$3:$C$42</c:f>
              <c:numCache>
                <c:formatCode>0</c:formatCode>
                <c:ptCount val="40"/>
                <c:pt idx="0">
                  <c:v>2.5</c:v>
                </c:pt>
                <c:pt idx="1">
                  <c:v>2.6666666666666665</c:v>
                </c:pt>
                <c:pt idx="2">
                  <c:v>2.5</c:v>
                </c:pt>
                <c:pt idx="3">
                  <c:v>3.2</c:v>
                </c:pt>
                <c:pt idx="4">
                  <c:v>2.6666666666666665</c:v>
                </c:pt>
                <c:pt idx="5">
                  <c:v>2.8571428571428572</c:v>
                </c:pt>
                <c:pt idx="6">
                  <c:v>2.75</c:v>
                </c:pt>
                <c:pt idx="7">
                  <c:v>2.5555555555555554</c:v>
                </c:pt>
                <c:pt idx="8">
                  <c:v>3.4</c:v>
                </c:pt>
                <c:pt idx="9">
                  <c:v>3.5454545454545454</c:v>
                </c:pt>
                <c:pt idx="10">
                  <c:v>3.4166666666666665</c:v>
                </c:pt>
                <c:pt idx="11">
                  <c:v>3.3076923076923075</c:v>
                </c:pt>
                <c:pt idx="12">
                  <c:v>3.1428571428571428</c:v>
                </c:pt>
                <c:pt idx="13">
                  <c:v>3</c:v>
                </c:pt>
                <c:pt idx="14">
                  <c:v>2.8125</c:v>
                </c:pt>
                <c:pt idx="15">
                  <c:v>2.7058823529411766</c:v>
                </c:pt>
                <c:pt idx="16">
                  <c:v>2.5555555555555554</c:v>
                </c:pt>
                <c:pt idx="17">
                  <c:v>2.4736842105263159</c:v>
                </c:pt>
                <c:pt idx="18">
                  <c:v>2.4500000000000002</c:v>
                </c:pt>
                <c:pt idx="19">
                  <c:v>2.3809523809523809</c:v>
                </c:pt>
                <c:pt idx="20">
                  <c:v>2.3181818181818183</c:v>
                </c:pt>
                <c:pt idx="21">
                  <c:v>2.2173913043478262</c:v>
                </c:pt>
                <c:pt idx="22">
                  <c:v>2.125</c:v>
                </c:pt>
                <c:pt idx="23">
                  <c:v>2.12</c:v>
                </c:pt>
                <c:pt idx="24">
                  <c:v>2.1153846153846154</c:v>
                </c:pt>
                <c:pt idx="25">
                  <c:v>2.0370370370370372</c:v>
                </c:pt>
                <c:pt idx="26">
                  <c:v>1.9642857142857142</c:v>
                </c:pt>
                <c:pt idx="27">
                  <c:v>2</c:v>
                </c:pt>
                <c:pt idx="28">
                  <c:v>2.0333333333333332</c:v>
                </c:pt>
                <c:pt idx="29">
                  <c:v>2</c:v>
                </c:pt>
                <c:pt idx="30">
                  <c:v>1.96875</c:v>
                </c:pt>
                <c:pt idx="31">
                  <c:v>1.9393939393939394</c:v>
                </c:pt>
                <c:pt idx="32">
                  <c:v>1.911764705882353</c:v>
                </c:pt>
                <c:pt idx="33">
                  <c:v>1.9142857142857144</c:v>
                </c:pt>
                <c:pt idx="34">
                  <c:v>1.8611111111111112</c:v>
                </c:pt>
                <c:pt idx="35">
                  <c:v>1.8378378378378379</c:v>
                </c:pt>
                <c:pt idx="36">
                  <c:v>1.7894736842105263</c:v>
                </c:pt>
                <c:pt idx="37">
                  <c:v>1.7435897435897436</c:v>
                </c:pt>
                <c:pt idx="38">
                  <c:v>1.7</c:v>
                </c:pt>
                <c:pt idx="39">
                  <c:v>1.6585365853658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B3-4A31-B4EE-65992E9AC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895104"/>
        <c:crosses val="autoZero"/>
        <c:auto val="0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C2-4077-922D-9BBB579E28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C2-4077-922D-9BBB579E28E9}"/>
                </c:ext>
              </c:extLst>
            </c:dLbl>
            <c:dLbl>
              <c:idx val="8"/>
              <c:layout>
                <c:manualLayout>
                  <c:x val="-4.10798122065728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BC2-4077-922D-9BBB579E28E9}"/>
                </c:ext>
              </c:extLst>
            </c:dLbl>
            <c:dLbl>
              <c:idx val="13"/>
              <c:layout>
                <c:manualLayout>
                  <c:x val="-4.10798122065728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BC2-4077-922D-9BBB579E28E9}"/>
                </c:ext>
              </c:extLst>
            </c:dLbl>
            <c:dLbl>
              <c:idx val="14"/>
              <c:layout>
                <c:manualLayout>
                  <c:x val="-3.08624450112750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BC2-4077-922D-9BBB579E28E9}"/>
                </c:ext>
              </c:extLst>
            </c:dLbl>
            <c:dLbl>
              <c:idx val="18"/>
              <c:layout>
                <c:manualLayout>
                  <c:x val="-2.89085431222506E-2"/>
                  <c:y val="-1.82063790939176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BC2-4077-922D-9BBB579E28E9}"/>
                </c:ext>
              </c:extLst>
            </c:dLbl>
            <c:dLbl>
              <c:idx val="19"/>
              <c:layout>
                <c:manualLayout>
                  <c:x val="-3.3603378803001703E-2"/>
                  <c:y val="-6.168463996348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C2-4077-922D-9BBB579E28E9}"/>
                </c:ext>
              </c:extLst>
            </c:dLbl>
            <c:dLbl>
              <c:idx val="20"/>
              <c:layout>
                <c:manualLayout>
                  <c:x val="-3.5950796643377303E-2"/>
                  <c:y val="-1.82063790939176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BC2-4077-922D-9BBB579E28E9}"/>
                </c:ext>
              </c:extLst>
            </c:dLbl>
            <c:dLbl>
              <c:idx val="21"/>
              <c:layout>
                <c:manualLayout>
                  <c:x val="-4.5340468004879703E-2"/>
                  <c:y val="-2.18295674997147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BC2-4077-922D-9BBB579E28E9}"/>
                </c:ext>
              </c:extLst>
            </c:dLbl>
            <c:dLbl>
              <c:idx val="22"/>
              <c:layout>
                <c:manualLayout>
                  <c:x val="-1.40845070422535E-3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BC2-4077-922D-9BBB579E28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0.00</c:formatCode>
                <c:ptCount val="41"/>
                <c:pt idx="0">
                  <c:v>3</c:v>
                </c:pt>
                <c:pt idx="1">
                  <c:v>0.7142857142857143</c:v>
                </c:pt>
                <c:pt idx="2">
                  <c:v>0.42857142857142855</c:v>
                </c:pt>
                <c:pt idx="3">
                  <c:v>0.2857142857142857</c:v>
                </c:pt>
                <c:pt idx="4">
                  <c:v>0.8571428571428571</c:v>
                </c:pt>
                <c:pt idx="5">
                  <c:v>0</c:v>
                </c:pt>
                <c:pt idx="6">
                  <c:v>0.5714285714285714</c:v>
                </c:pt>
                <c:pt idx="7">
                  <c:v>0.2857142857142857</c:v>
                </c:pt>
                <c:pt idx="8">
                  <c:v>0.14285714285714285</c:v>
                </c:pt>
                <c:pt idx="9">
                  <c:v>1.5714285714285714</c:v>
                </c:pt>
                <c:pt idx="10">
                  <c:v>0.7142857142857143</c:v>
                </c:pt>
                <c:pt idx="11">
                  <c:v>0.2857142857142857</c:v>
                </c:pt>
                <c:pt idx="12">
                  <c:v>0.2857142857142857</c:v>
                </c:pt>
                <c:pt idx="13">
                  <c:v>0.14285714285714285</c:v>
                </c:pt>
                <c:pt idx="14">
                  <c:v>0.14285714285714285</c:v>
                </c:pt>
                <c:pt idx="15">
                  <c:v>0</c:v>
                </c:pt>
                <c:pt idx="16">
                  <c:v>0.14285714285714285</c:v>
                </c:pt>
                <c:pt idx="17">
                  <c:v>0</c:v>
                </c:pt>
                <c:pt idx="18">
                  <c:v>0.14285714285714285</c:v>
                </c:pt>
                <c:pt idx="19">
                  <c:v>0.2857142857142857</c:v>
                </c:pt>
                <c:pt idx="20">
                  <c:v>0.14285714285714285</c:v>
                </c:pt>
                <c:pt idx="21">
                  <c:v>0.14285714285714285</c:v>
                </c:pt>
                <c:pt idx="22">
                  <c:v>0</c:v>
                </c:pt>
                <c:pt idx="23">
                  <c:v>0</c:v>
                </c:pt>
                <c:pt idx="24">
                  <c:v>0.2857142857142857</c:v>
                </c:pt>
                <c:pt idx="25">
                  <c:v>0.2857142857142857</c:v>
                </c:pt>
                <c:pt idx="26">
                  <c:v>0</c:v>
                </c:pt>
                <c:pt idx="27">
                  <c:v>0</c:v>
                </c:pt>
                <c:pt idx="28">
                  <c:v>0.42857142857142855</c:v>
                </c:pt>
                <c:pt idx="29">
                  <c:v>0.42857142857142855</c:v>
                </c:pt>
                <c:pt idx="30">
                  <c:v>0.14285714285714285</c:v>
                </c:pt>
                <c:pt idx="31">
                  <c:v>0.14285714285714285</c:v>
                </c:pt>
                <c:pt idx="32">
                  <c:v>0.14285714285714285</c:v>
                </c:pt>
                <c:pt idx="33">
                  <c:v>0.14285714285714285</c:v>
                </c:pt>
                <c:pt idx="34">
                  <c:v>0.2857142857142857</c:v>
                </c:pt>
                <c:pt idx="35">
                  <c:v>0</c:v>
                </c:pt>
                <c:pt idx="36">
                  <c:v>0.14285714285714285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CBC2-4077-922D-9BBB579E28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988928"/>
        <c:crosses val="autoZero"/>
        <c:auto val="0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67-456F-A12F-3BDD4B1A2A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1000000000000001</c:v>
                </c:pt>
                <c:pt idx="2" formatCode="0.00%">
                  <c:v>0.95238095238095233</c:v>
                </c:pt>
                <c:pt idx="3" formatCode="0.00%">
                  <c:v>9.7560975609756101E-2</c:v>
                </c:pt>
                <c:pt idx="4" formatCode="0.00%">
                  <c:v>0.1111111111111111</c:v>
                </c:pt>
                <c:pt idx="5" formatCode="0.00%">
                  <c:v>0.06</c:v>
                </c:pt>
                <c:pt idx="6" formatCode="0.00%">
                  <c:v>0.11320754716981132</c:v>
                </c:pt>
                <c:pt idx="7" formatCode="0.00%">
                  <c:v>0.10169491525423729</c:v>
                </c:pt>
                <c:pt idx="8" formatCode="0.00%">
                  <c:v>4.6153846153846156E-2</c:v>
                </c:pt>
                <c:pt idx="9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767-456F-A12F-3BDD4B1A2A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1</c:v>
                </c:pt>
                <c:pt idx="2" formatCode="0.00%">
                  <c:v>0.81818181818181823</c:v>
                </c:pt>
                <c:pt idx="3" formatCode="0.00%">
                  <c:v>-0.8</c:v>
                </c:pt>
                <c:pt idx="4" formatCode="0.00%">
                  <c:v>0.25</c:v>
                </c:pt>
                <c:pt idx="5" formatCode="0.00%">
                  <c:v>-0.4</c:v>
                </c:pt>
                <c:pt idx="6" formatCode="0.00%">
                  <c:v>1</c:v>
                </c:pt>
                <c:pt idx="7" formatCode="0.00%">
                  <c:v>0</c:v>
                </c:pt>
                <c:pt idx="8" formatCode="0.00%">
                  <c:v>-0.5</c:v>
                </c:pt>
                <c:pt idx="9" formatCode="0.00%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767-456F-A12F-3BDD4B1A2A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557132823185833"/>
          <c:y val="0.12208962160979879"/>
          <c:w val="0.790652656094045"/>
          <c:h val="0.559059112176194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D2-485C-A9D5-EA1F14A6954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General</c:formatCode>
                <c:ptCount val="41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D2-485C-A9D5-EA1F14A695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D$2:$D$42</c:f>
              <c:numCache>
                <c:formatCode>General</c:formatCode>
                <c:ptCount val="41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8D2-485C-A9D5-EA1F14A69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E$2:$E$42</c:f>
              <c:numCache>
                <c:formatCode>0</c:formatCode>
                <c:ptCount val="41"/>
                <c:pt idx="0">
                  <c:v>8</c:v>
                </c:pt>
                <c:pt idx="1">
                  <c:v>31.5</c:v>
                </c:pt>
                <c:pt idx="2">
                  <c:v>30.333333333333332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36</c:v>
                </c:pt>
                <c:pt idx="6">
                  <c:v>31.571428571428573</c:v>
                </c:pt>
                <c:pt idx="7">
                  <c:v>30.125</c:v>
                </c:pt>
                <c:pt idx="8">
                  <c:v>32.111111111111114</c:v>
                </c:pt>
                <c:pt idx="9">
                  <c:v>44.3</c:v>
                </c:pt>
                <c:pt idx="10">
                  <c:v>42.363636363636367</c:v>
                </c:pt>
                <c:pt idx="11">
                  <c:v>41.083333333333336</c:v>
                </c:pt>
                <c:pt idx="12">
                  <c:v>39.384615384615387</c:v>
                </c:pt>
                <c:pt idx="13">
                  <c:v>38.071428571428569</c:v>
                </c:pt>
                <c:pt idx="14">
                  <c:v>36.799999999999997</c:v>
                </c:pt>
                <c:pt idx="15">
                  <c:v>35.4375</c:v>
                </c:pt>
                <c:pt idx="16">
                  <c:v>34.352941176470587</c:v>
                </c:pt>
                <c:pt idx="17">
                  <c:v>33.833333333333336</c:v>
                </c:pt>
                <c:pt idx="18">
                  <c:v>32.526315789473685</c:v>
                </c:pt>
                <c:pt idx="19">
                  <c:v>32.799999999999997</c:v>
                </c:pt>
                <c:pt idx="20">
                  <c:v>33.095238095238095</c:v>
                </c:pt>
                <c:pt idx="21">
                  <c:v>32.68181818181818</c:v>
                </c:pt>
                <c:pt idx="22">
                  <c:v>32.478260869565219</c:v>
                </c:pt>
                <c:pt idx="23">
                  <c:v>32.083333333333336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851</c:v>
                </c:pt>
                <c:pt idx="27">
                  <c:v>30.25</c:v>
                </c:pt>
                <c:pt idx="28">
                  <c:v>29.758620689655171</c:v>
                </c:pt>
                <c:pt idx="29">
                  <c:v>29.6</c:v>
                </c:pt>
                <c:pt idx="30">
                  <c:v>29.161290322580644</c:v>
                </c:pt>
                <c:pt idx="31">
                  <c:v>28.875</c:v>
                </c:pt>
                <c:pt idx="32">
                  <c:v>28.90909090909091</c:v>
                </c:pt>
                <c:pt idx="33">
                  <c:v>28.647058823529413</c:v>
                </c:pt>
                <c:pt idx="34">
                  <c:v>28.685714285714287</c:v>
                </c:pt>
                <c:pt idx="35">
                  <c:v>28.416666666666668</c:v>
                </c:pt>
                <c:pt idx="36">
                  <c:v>28.027027027027028</c:v>
                </c:pt>
                <c:pt idx="37">
                  <c:v>27.605263157894736</c:v>
                </c:pt>
                <c:pt idx="38">
                  <c:v>27.53846153846154</c:v>
                </c:pt>
                <c:pt idx="39">
                  <c:v>27.15</c:v>
                </c:pt>
                <c:pt idx="40">
                  <c:v>26.7073170731707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58D2-485C-A9D5-EA1F14A69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669632"/>
        <c:crosses val="autoZero"/>
        <c:auto val="0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638497652582198E-2"/>
          <c:y val="0.88645833333333302"/>
          <c:w val="0.852112676056338"/>
          <c:h val="0.103124999999999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531329710546699"/>
          <c:y val="0.15681187949332401"/>
          <c:w val="0.80488983771394795"/>
          <c:h val="0.559059112176194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E$2:$E$42</c:f>
              <c:numCache>
                <c:formatCode>0</c:formatCode>
                <c:ptCount val="41"/>
                <c:pt idx="0">
                  <c:v>4</c:v>
                </c:pt>
                <c:pt idx="1">
                  <c:v>6.5714285714285712</c:v>
                </c:pt>
                <c:pt idx="2">
                  <c:v>2.5714285714285716</c:v>
                </c:pt>
                <c:pt idx="3">
                  <c:v>2.4285714285714284</c:v>
                </c:pt>
                <c:pt idx="4">
                  <c:v>2.7142857142857144</c:v>
                </c:pt>
                <c:pt idx="5">
                  <c:v>3.2857142857142856</c:v>
                </c:pt>
                <c:pt idx="6">
                  <c:v>3</c:v>
                </c:pt>
                <c:pt idx="7">
                  <c:v>2</c:v>
                </c:pt>
                <c:pt idx="8">
                  <c:v>2.5714285714285716</c:v>
                </c:pt>
                <c:pt idx="9">
                  <c:v>17.714285714285715</c:v>
                </c:pt>
                <c:pt idx="10">
                  <c:v>1.8571428571428572</c:v>
                </c:pt>
                <c:pt idx="11">
                  <c:v>3.1428571428571428</c:v>
                </c:pt>
                <c:pt idx="12">
                  <c:v>2</c:v>
                </c:pt>
                <c:pt idx="13">
                  <c:v>2.4285714285714284</c:v>
                </c:pt>
                <c:pt idx="14">
                  <c:v>1.8571428571428572</c:v>
                </c:pt>
                <c:pt idx="15">
                  <c:v>1.8571428571428572</c:v>
                </c:pt>
                <c:pt idx="16">
                  <c:v>1.1428571428571428</c:v>
                </c:pt>
                <c:pt idx="17">
                  <c:v>2.8571428571428572</c:v>
                </c:pt>
                <c:pt idx="18">
                  <c:v>0.8571428571428571</c:v>
                </c:pt>
                <c:pt idx="19">
                  <c:v>2.7142857142857144</c:v>
                </c:pt>
                <c:pt idx="20">
                  <c:v>2.5714285714285716</c:v>
                </c:pt>
                <c:pt idx="21">
                  <c:v>2.4285714285714284</c:v>
                </c:pt>
                <c:pt idx="22">
                  <c:v>2.5714285714285716</c:v>
                </c:pt>
                <c:pt idx="23">
                  <c:v>2.4285714285714284</c:v>
                </c:pt>
                <c:pt idx="24">
                  <c:v>2.1428571428571428</c:v>
                </c:pt>
                <c:pt idx="25">
                  <c:v>1.7142857142857142</c:v>
                </c:pt>
                <c:pt idx="26">
                  <c:v>0.5714285714285714</c:v>
                </c:pt>
                <c:pt idx="27">
                  <c:v>1.7142857142857142</c:v>
                </c:pt>
                <c:pt idx="28">
                  <c:v>1.7142857142857142</c:v>
                </c:pt>
                <c:pt idx="29">
                  <c:v>2.8571428571428572</c:v>
                </c:pt>
                <c:pt idx="30">
                  <c:v>1.2857142857142858</c:v>
                </c:pt>
                <c:pt idx="31">
                  <c:v>2.4285714285714284</c:v>
                </c:pt>
                <c:pt idx="32">
                  <c:v>2.5714285714285716</c:v>
                </c:pt>
                <c:pt idx="33">
                  <c:v>2.2857142857142856</c:v>
                </c:pt>
                <c:pt idx="34">
                  <c:v>3.1428571428571428</c:v>
                </c:pt>
                <c:pt idx="35">
                  <c:v>2</c:v>
                </c:pt>
                <c:pt idx="36">
                  <c:v>1.5714285714285714</c:v>
                </c:pt>
                <c:pt idx="37">
                  <c:v>0.7142857142857143</c:v>
                </c:pt>
                <c:pt idx="38">
                  <c:v>2.8571428571428572</c:v>
                </c:pt>
                <c:pt idx="39">
                  <c:v>1</c:v>
                </c:pt>
                <c:pt idx="4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32-4A9B-BA80-B60AB08DFCB1}"/>
            </c:ext>
          </c:extLst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F$2:$F$42</c:f>
              <c:numCache>
                <c:formatCode>0</c:formatCode>
                <c:ptCount val="41"/>
                <c:pt idx="0" formatCode="General">
                  <c:v>0</c:v>
                </c:pt>
                <c:pt idx="1">
                  <c:v>1.2857142857142858</c:v>
                </c:pt>
                <c:pt idx="2">
                  <c:v>1.4285714285714286</c:v>
                </c:pt>
                <c:pt idx="3">
                  <c:v>0.7142857142857143</c:v>
                </c:pt>
                <c:pt idx="4">
                  <c:v>3.1428571428571428</c:v>
                </c:pt>
                <c:pt idx="5">
                  <c:v>2.4285714285714284</c:v>
                </c:pt>
                <c:pt idx="6">
                  <c:v>0.8571428571428571</c:v>
                </c:pt>
                <c:pt idx="7">
                  <c:v>0.8571428571428571</c:v>
                </c:pt>
                <c:pt idx="8">
                  <c:v>4.2857142857142856</c:v>
                </c:pt>
                <c:pt idx="9">
                  <c:v>4.2857142857142856</c:v>
                </c:pt>
                <c:pt idx="10">
                  <c:v>1.4285714285714286</c:v>
                </c:pt>
                <c:pt idx="11">
                  <c:v>0.7142857142857143</c:v>
                </c:pt>
                <c:pt idx="12">
                  <c:v>0.7142857142857143</c:v>
                </c:pt>
                <c:pt idx="13">
                  <c:v>0.5714285714285714</c:v>
                </c:pt>
                <c:pt idx="14">
                  <c:v>0.8571428571428571</c:v>
                </c:pt>
                <c:pt idx="15">
                  <c:v>0.2857142857142857</c:v>
                </c:pt>
                <c:pt idx="16">
                  <c:v>1.2857142857142858</c:v>
                </c:pt>
                <c:pt idx="17">
                  <c:v>0.7142857142857143</c:v>
                </c:pt>
                <c:pt idx="18">
                  <c:v>0.42857142857142855</c:v>
                </c:pt>
                <c:pt idx="19">
                  <c:v>2.7142857142857144</c:v>
                </c:pt>
                <c:pt idx="20">
                  <c:v>3</c:v>
                </c:pt>
                <c:pt idx="21">
                  <c:v>1</c:v>
                </c:pt>
                <c:pt idx="22">
                  <c:v>1.4285714285714286</c:v>
                </c:pt>
                <c:pt idx="23">
                  <c:v>0.8571428571428571</c:v>
                </c:pt>
                <c:pt idx="24">
                  <c:v>1.8571428571428572</c:v>
                </c:pt>
                <c:pt idx="25">
                  <c:v>1.2857142857142858</c:v>
                </c:pt>
                <c:pt idx="26">
                  <c:v>1.4285714285714286</c:v>
                </c:pt>
                <c:pt idx="27">
                  <c:v>0.2857142857142857</c:v>
                </c:pt>
                <c:pt idx="28">
                  <c:v>0.5714285714285714</c:v>
                </c:pt>
                <c:pt idx="29">
                  <c:v>0.7142857142857143</c:v>
                </c:pt>
                <c:pt idx="30">
                  <c:v>0.7142857142857143</c:v>
                </c:pt>
                <c:pt idx="31">
                  <c:v>0.42857142857142855</c:v>
                </c:pt>
                <c:pt idx="32">
                  <c:v>1.5714285714285714</c:v>
                </c:pt>
                <c:pt idx="33">
                  <c:v>0.5714285714285714</c:v>
                </c:pt>
                <c:pt idx="34">
                  <c:v>1.1428571428571428</c:v>
                </c:pt>
                <c:pt idx="35">
                  <c:v>0.7142857142857143</c:v>
                </c:pt>
                <c:pt idx="36">
                  <c:v>0.42857142857142855</c:v>
                </c:pt>
                <c:pt idx="37">
                  <c:v>1</c:v>
                </c:pt>
                <c:pt idx="38">
                  <c:v>0.7142857142857143</c:v>
                </c:pt>
                <c:pt idx="39">
                  <c:v>0.7142857142857143</c:v>
                </c:pt>
                <c:pt idx="40">
                  <c:v>0.2857142857142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32-4A9B-BA80-B60AB08DFCB1}"/>
            </c:ext>
          </c:extLst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G$2:$G$42</c:f>
              <c:numCache>
                <c:formatCode>0</c:formatCode>
                <c:ptCount val="41"/>
                <c:pt idx="0">
                  <c:v>1.5</c:v>
                </c:pt>
                <c:pt idx="1">
                  <c:v>4.8571428571428568</c:v>
                </c:pt>
                <c:pt idx="2">
                  <c:v>0.14285714285714285</c:v>
                </c:pt>
                <c:pt idx="3">
                  <c:v>0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2857142857142857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285</c:v>
                </c:pt>
                <c:pt idx="22">
                  <c:v>0.14285714285714285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2032-4A9B-BA80-B60AB08DFC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H$2:$H$42</c:f>
              <c:numCache>
                <c:formatCode>0</c:formatCode>
                <c:ptCount val="41"/>
                <c:pt idx="0">
                  <c:v>5.5</c:v>
                </c:pt>
                <c:pt idx="1">
                  <c:v>12.714285714285714</c:v>
                </c:pt>
                <c:pt idx="2">
                  <c:v>4.1428571428571432</c:v>
                </c:pt>
                <c:pt idx="3">
                  <c:v>3.1428571428571428</c:v>
                </c:pt>
                <c:pt idx="4">
                  <c:v>6.0000000000000009</c:v>
                </c:pt>
                <c:pt idx="5">
                  <c:v>5.7142857142857135</c:v>
                </c:pt>
                <c:pt idx="6">
                  <c:v>3.8571428571428572</c:v>
                </c:pt>
                <c:pt idx="7">
                  <c:v>3.1428571428571428</c:v>
                </c:pt>
                <c:pt idx="8">
                  <c:v>6.8571428571428577</c:v>
                </c:pt>
                <c:pt idx="9">
                  <c:v>22</c:v>
                </c:pt>
                <c:pt idx="10">
                  <c:v>3.2857142857142856</c:v>
                </c:pt>
                <c:pt idx="11">
                  <c:v>3.8571428571428572</c:v>
                </c:pt>
                <c:pt idx="12">
                  <c:v>2.7142857142857144</c:v>
                </c:pt>
                <c:pt idx="13">
                  <c:v>3</c:v>
                </c:pt>
                <c:pt idx="14">
                  <c:v>2.7142857142857144</c:v>
                </c:pt>
                <c:pt idx="15">
                  <c:v>2.1428571428571428</c:v>
                </c:pt>
                <c:pt idx="16">
                  <c:v>2.4285714285714288</c:v>
                </c:pt>
                <c:pt idx="17">
                  <c:v>3.5714285714285716</c:v>
                </c:pt>
                <c:pt idx="18">
                  <c:v>1.2857142857142856</c:v>
                </c:pt>
                <c:pt idx="19">
                  <c:v>5.4285714285714288</c:v>
                </c:pt>
                <c:pt idx="20">
                  <c:v>5.5714285714285712</c:v>
                </c:pt>
                <c:pt idx="21">
                  <c:v>3.5714285714285712</c:v>
                </c:pt>
                <c:pt idx="22">
                  <c:v>4.1428571428571432</c:v>
                </c:pt>
                <c:pt idx="23">
                  <c:v>3.2857142857142856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56</c:v>
                </c:pt>
                <c:pt idx="29">
                  <c:v>3.5714285714285716</c:v>
                </c:pt>
                <c:pt idx="30">
                  <c:v>2</c:v>
                </c:pt>
                <c:pt idx="31">
                  <c:v>2.8571428571428568</c:v>
                </c:pt>
                <c:pt idx="32">
                  <c:v>4.1428571428571432</c:v>
                </c:pt>
                <c:pt idx="33">
                  <c:v>2.8571428571428568</c:v>
                </c:pt>
                <c:pt idx="34">
                  <c:v>4.2857142857142856</c:v>
                </c:pt>
                <c:pt idx="35">
                  <c:v>2.7142857142857144</c:v>
                </c:pt>
                <c:pt idx="36">
                  <c:v>2</c:v>
                </c:pt>
                <c:pt idx="37">
                  <c:v>1.7142857142857144</c:v>
                </c:pt>
                <c:pt idx="38">
                  <c:v>3.5714285714285716</c:v>
                </c:pt>
                <c:pt idx="39">
                  <c:v>1.7142857142857144</c:v>
                </c:pt>
                <c:pt idx="40">
                  <c:v>1.28571428571428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D-2032-4A9B-BA80-B60AB08DFC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953664"/>
        <c:crosses val="autoZero"/>
        <c:auto val="0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3312049190020101E-2"/>
          <c:y val="0.8679048776254120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0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1359786305686299E-2"/>
          <c:y val="0.13424262308120599"/>
          <c:w val="0.85995106020818002"/>
          <c:h val="0.698041040324504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C8-4D2D-A129-7BBD2457787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C8-4D2D-A129-7BBD2457787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C8-4D2D-A129-7BBD2457787B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C8-4D2D-A129-7BBD2457787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EC8-4D2D-A129-7BBD2457787B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E9D-4B75-99DA-D83D93B8207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140-47AF-9A38-7557EE83EB2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811-42F6-87A2-AFF6611D9A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C8-4D2D-A129-7BBD24577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0%</c:formatCode>
                <c:ptCount val="10"/>
                <c:pt idx="0">
                  <c:v>#N/A</c:v>
                </c:pt>
                <c:pt idx="1">
                  <c:v>1.0218978102189782</c:v>
                </c:pt>
                <c:pt idx="2">
                  <c:v>1.8357142857142856</c:v>
                </c:pt>
                <c:pt idx="3">
                  <c:v>0.32295719844357978</c:v>
                </c:pt>
                <c:pt idx="4">
                  <c:v>1.3975903614457832</c:v>
                </c:pt>
                <c:pt idx="5">
                  <c:v>0.94827586206896552</c:v>
                </c:pt>
                <c:pt idx="6">
                  <c:v>0.70909090909090911</c:v>
                </c:pt>
                <c:pt idx="7">
                  <c:v>1.2051282051282051</c:v>
                </c:pt>
                <c:pt idx="8">
                  <c:v>0.94680851063829785</c:v>
                </c:pt>
                <c:pt idx="9">
                  <c:v>0.4044943820224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EC8-4D2D-A129-7BBD2457787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2.2162306095219301E-2"/>
                  <c:y val="3.030303030303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EC8-4D2D-A129-7BBD245778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0%</c:formatCode>
                <c:ptCount val="10"/>
                <c:pt idx="0">
                  <c:v>#N/A</c:v>
                </c:pt>
                <c:pt idx="1">
                  <c:v>2.1897810218978103E-2</c:v>
                </c:pt>
                <c:pt idx="2">
                  <c:v>0.83571428571428574</c:v>
                </c:pt>
                <c:pt idx="3">
                  <c:v>-0.67704280155642027</c:v>
                </c:pt>
                <c:pt idx="4">
                  <c:v>0.39759036144578314</c:v>
                </c:pt>
                <c:pt idx="5">
                  <c:v>-5.1724137931034482E-2</c:v>
                </c:pt>
                <c:pt idx="6">
                  <c:v>-0.29090909090909089</c:v>
                </c:pt>
                <c:pt idx="7">
                  <c:v>0.20512820512820512</c:v>
                </c:pt>
                <c:pt idx="8">
                  <c:v>-5.3191489361702128E-2</c:v>
                </c:pt>
                <c:pt idx="9">
                  <c:v>-0.59550561797752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AEC8-4D2D-A129-7BBD2457787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6</c:f>
              <c:numCache>
                <c:formatCode>m/d;@</c:formatCode>
                <c:ptCount val="7"/>
                <c:pt idx="0">
                  <c:v>43843</c:v>
                </c:pt>
                <c:pt idx="1">
                  <c:v>43844</c:v>
                </c:pt>
                <c:pt idx="2">
                  <c:v>43845</c:v>
                </c:pt>
                <c:pt idx="3">
                  <c:v>43846</c:v>
                </c:pt>
                <c:pt idx="4">
                  <c:v>43847</c:v>
                </c:pt>
                <c:pt idx="5">
                  <c:v>43848</c:v>
                </c:pt>
                <c:pt idx="6">
                  <c:v>43849</c:v>
                </c:pt>
              </c:numCache>
            </c:numRef>
          </c:cat>
          <c:val>
            <c:numRef>
              <c:f>Sheet1!$B$30:$B$36</c:f>
              <c:numCache>
                <c:formatCode>General</c:formatCode>
                <c:ptCount val="7"/>
                <c:pt idx="0">
                  <c:v>2</c:v>
                </c:pt>
                <c:pt idx="1">
                  <c:v>4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FC-485E-A239-91056AD846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6</c:f>
              <c:numCache>
                <c:formatCode>m/d;@</c:formatCode>
                <c:ptCount val="7"/>
                <c:pt idx="0">
                  <c:v>43843</c:v>
                </c:pt>
                <c:pt idx="1">
                  <c:v>43844</c:v>
                </c:pt>
                <c:pt idx="2">
                  <c:v>43845</c:v>
                </c:pt>
                <c:pt idx="3">
                  <c:v>43846</c:v>
                </c:pt>
                <c:pt idx="4">
                  <c:v>43847</c:v>
                </c:pt>
                <c:pt idx="5">
                  <c:v>43848</c:v>
                </c:pt>
                <c:pt idx="6">
                  <c:v>43849</c:v>
                </c:pt>
              </c:numCache>
            </c:numRef>
          </c:cat>
          <c:val>
            <c:numRef>
              <c:f>Sheet1!$C$30:$C$36</c:f>
              <c:numCache>
                <c:formatCode>0%</c:formatCode>
                <c:ptCount val="7"/>
                <c:pt idx="0">
                  <c:v>0</c:v>
                </c:pt>
                <c:pt idx="1">
                  <c:v>1</c:v>
                </c:pt>
                <c:pt idx="2">
                  <c:v>-0.5</c:v>
                </c:pt>
                <c:pt idx="3">
                  <c:v>0</c:v>
                </c:pt>
                <c:pt idx="4">
                  <c:v>-0.5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FC-485E-A239-91056AD846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B$23:$B$29</c:f>
              <c:numCache>
                <c:formatCode>General</c:formatCode>
                <c:ptCount val="7"/>
                <c:pt idx="0">
                  <c:v>1</c:v>
                </c:pt>
                <c:pt idx="1">
                  <c:v>4</c:v>
                </c:pt>
                <c:pt idx="2">
                  <c:v>2</c:v>
                </c:pt>
                <c:pt idx="3">
                  <c:v>4</c:v>
                </c:pt>
                <c:pt idx="4">
                  <c:v>3</c:v>
                </c:pt>
                <c:pt idx="5">
                  <c:v>5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A5-4954-B24C-C6FB55739B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2A5-4954-B24C-C6FB55739B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C$23:$C$29</c:f>
              <c:numCache>
                <c:formatCode>0%</c:formatCode>
                <c:ptCount val="7"/>
                <c:pt idx="0">
                  <c:v>-0.83333333333333337</c:v>
                </c:pt>
                <c:pt idx="1">
                  <c:v>3</c:v>
                </c:pt>
                <c:pt idx="2">
                  <c:v>-0.5</c:v>
                </c:pt>
                <c:pt idx="3">
                  <c:v>1</c:v>
                </c:pt>
                <c:pt idx="4">
                  <c:v>-0.25</c:v>
                </c:pt>
                <c:pt idx="5">
                  <c:v>0.66666666666666663</c:v>
                </c:pt>
                <c:pt idx="6">
                  <c:v>-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A5-4954-B24C-C6FB55739B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6.5767952135167299E-2"/>
          <c:y val="8.8921761618033002E-2"/>
          <c:w val="0.859898913605603"/>
          <c:h val="0.718784931295353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E3-49C9-A99D-B8F763DF9B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C$2:$C$42</c:f>
              <c:numCache>
                <c:formatCode>0%</c:formatCode>
                <c:ptCount val="41"/>
                <c:pt idx="0">
                  <c:v>#N/A</c:v>
                </c:pt>
                <c:pt idx="1">
                  <c:v>#N/A</c:v>
                </c:pt>
                <c:pt idx="2" formatCode="0.00%">
                  <c:v>0.47826086956521741</c:v>
                </c:pt>
                <c:pt idx="3" formatCode="0.00%">
                  <c:v>0.31372549019607843</c:v>
                </c:pt>
                <c:pt idx="4" formatCode="0.00%">
                  <c:v>0.27611940298507465</c:v>
                </c:pt>
                <c:pt idx="5" formatCode="0.00%">
                  <c:v>0.16374269005847952</c:v>
                </c:pt>
                <c:pt idx="6" formatCode="0.00%">
                  <c:v>0.20603015075376885</c:v>
                </c:pt>
                <c:pt idx="7" formatCode="0.00%">
                  <c:v>0.15</c:v>
                </c:pt>
                <c:pt idx="8" formatCode="0.00%">
                  <c:v>0.13768115942028986</c:v>
                </c:pt>
                <c:pt idx="9" formatCode="0.00%">
                  <c:v>0.41719745222929938</c:v>
                </c:pt>
                <c:pt idx="10" formatCode="0.00%">
                  <c:v>0.12359550561797752</c:v>
                </c:pt>
                <c:pt idx="11" formatCode="0.00%">
                  <c:v>7.1999999999999995E-2</c:v>
                </c:pt>
                <c:pt idx="12" formatCode="0.00%">
                  <c:v>6.3432835820895525E-2</c:v>
                </c:pt>
                <c:pt idx="13" formatCode="0.00%">
                  <c:v>5.2631578947368418E-2</c:v>
                </c:pt>
                <c:pt idx="14" formatCode="0.00%">
                  <c:v>3.3333333333333333E-2</c:v>
                </c:pt>
                <c:pt idx="15" formatCode="0.00%">
                  <c:v>3.870967741935484E-2</c:v>
                </c:pt>
                <c:pt idx="16" formatCode="0.00%">
                  <c:v>2.7950310559006212E-2</c:v>
                </c:pt>
                <c:pt idx="17" formatCode="0.00%">
                  <c:v>4.9848942598187312E-2</c:v>
                </c:pt>
                <c:pt idx="18" formatCode="0.00%">
                  <c:v>1.5827338129496403E-2</c:v>
                </c:pt>
                <c:pt idx="19" formatCode="0.00%">
                  <c:v>3.6827195467422094E-2</c:v>
                </c:pt>
                <c:pt idx="20" formatCode="0.00%">
                  <c:v>4.2349726775956283E-2</c:v>
                </c:pt>
                <c:pt idx="21" formatCode="0.00%">
                  <c:v>4.3250327653997382E-2</c:v>
                </c:pt>
                <c:pt idx="22" formatCode="0.00%">
                  <c:v>3.5175879396984924E-2</c:v>
                </c:pt>
                <c:pt idx="23" formatCode="0.00%">
                  <c:v>3.640776699029126E-2</c:v>
                </c:pt>
                <c:pt idx="24" formatCode="0.00%">
                  <c:v>3.5128805620608897E-2</c:v>
                </c:pt>
                <c:pt idx="25" formatCode="0.00%">
                  <c:v>2.0361990950226245E-2</c:v>
                </c:pt>
                <c:pt idx="26" formatCode="0.00%">
                  <c:v>2.2172949002217297E-2</c:v>
                </c:pt>
                <c:pt idx="27" formatCode="0.00%">
                  <c:v>1.6268980477223426E-2</c:v>
                </c:pt>
                <c:pt idx="28" formatCode="0.00%">
                  <c:v>2.0277481323372464E-2</c:v>
                </c:pt>
                <c:pt idx="29" formatCode="0.00%">
                  <c:v>3.1380753138075312E-2</c:v>
                </c:pt>
                <c:pt idx="30" formatCode="0.00%">
                  <c:v>2.8397565922920892E-2</c:v>
                </c:pt>
                <c:pt idx="31" formatCode="0.00%">
                  <c:v>2.6627218934911243E-2</c:v>
                </c:pt>
                <c:pt idx="32" formatCode="0.00%">
                  <c:v>2.8818443804034581E-2</c:v>
                </c:pt>
                <c:pt idx="33" formatCode="0.00%">
                  <c:v>2.2408963585434174E-2</c:v>
                </c:pt>
                <c:pt idx="34" formatCode="0.00%">
                  <c:v>2.6484018264840183E-2</c:v>
                </c:pt>
                <c:pt idx="35" formatCode="0.00%">
                  <c:v>1.8683274021352312E-2</c:v>
                </c:pt>
                <c:pt idx="36" formatCode="0.00%">
                  <c:v>2.4454148471615721E-2</c:v>
                </c:pt>
                <c:pt idx="37" formatCode="0.00%">
                  <c:v>1.4492753623188406E-2</c:v>
                </c:pt>
                <c:pt idx="38" formatCode="0.00%">
                  <c:v>2.3529411764705882E-2</c:v>
                </c:pt>
                <c:pt idx="39" formatCode="0.00%">
                  <c:v>1.7241379310344827E-2</c:v>
                </c:pt>
                <c:pt idx="40" formatCode="0.00%">
                  <c:v>1.129943502824858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E3-49C9-A99D-B8F763DF9B1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2</c:f>
              <c:strCache>
                <c:ptCount val="41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</c:strCache>
            </c:strRef>
          </c:cat>
          <c:val>
            <c:numRef>
              <c:f>Sheet1!$D$2:$D$42</c:f>
              <c:numCache>
                <c:formatCode>General</c:formatCode>
                <c:ptCount val="41"/>
                <c:pt idx="0" formatCode="0%">
                  <c:v>#N/A</c:v>
                </c:pt>
                <c:pt idx="1">
                  <c:v>#N/A</c:v>
                </c:pt>
                <c:pt idx="2" formatCode="0.00%">
                  <c:v>-0.47619047619047616</c:v>
                </c:pt>
                <c:pt idx="3" formatCode="0.00%">
                  <c:v>-3.0303030303030304E-2</c:v>
                </c:pt>
                <c:pt idx="4" formatCode="0.00%">
                  <c:v>0.15625</c:v>
                </c:pt>
                <c:pt idx="5" formatCode="0.00%">
                  <c:v>-0.24324324324324326</c:v>
                </c:pt>
                <c:pt idx="6" formatCode="0.00%">
                  <c:v>0.4642857142857143</c:v>
                </c:pt>
                <c:pt idx="7" formatCode="0.00%">
                  <c:v>-0.12195121951219512</c:v>
                </c:pt>
                <c:pt idx="8" formatCode="0.00%">
                  <c:v>5.5555555555555552E-2</c:v>
                </c:pt>
                <c:pt idx="9" formatCode="0.00%">
                  <c:v>2.4473684210526314</c:v>
                </c:pt>
                <c:pt idx="10" formatCode="0.00%">
                  <c:v>-0.58015267175572516</c:v>
                </c:pt>
                <c:pt idx="11" formatCode="0.00%">
                  <c:v>-0.34545454545454546</c:v>
                </c:pt>
                <c:pt idx="12" formatCode="0.00%">
                  <c:v>-5.5555555555555552E-2</c:v>
                </c:pt>
                <c:pt idx="13" formatCode="0.00%">
                  <c:v>-0.11764705882352941</c:v>
                </c:pt>
                <c:pt idx="14" formatCode="0.00%">
                  <c:v>-0.33333333333333331</c:v>
                </c:pt>
                <c:pt idx="15" formatCode="0.00%">
                  <c:v>0.2</c:v>
                </c:pt>
                <c:pt idx="16" formatCode="0.00%">
                  <c:v>-0.25</c:v>
                </c:pt>
                <c:pt idx="17" formatCode="0.00%">
                  <c:v>0.83333333333333337</c:v>
                </c:pt>
                <c:pt idx="18" formatCode="0.00%">
                  <c:v>-0.66666666666666663</c:v>
                </c:pt>
                <c:pt idx="19" formatCode="0.00%">
                  <c:v>1.3636363636363635</c:v>
                </c:pt>
                <c:pt idx="20" formatCode="0.00%">
                  <c:v>0.19230769230769232</c:v>
                </c:pt>
                <c:pt idx="21" formatCode="0.00%">
                  <c:v>6.4516129032258063E-2</c:v>
                </c:pt>
                <c:pt idx="22" formatCode="0.00%">
                  <c:v>-0.15151515151515152</c:v>
                </c:pt>
                <c:pt idx="23" formatCode="0.00%">
                  <c:v>7.1428571428571425E-2</c:v>
                </c:pt>
                <c:pt idx="24" formatCode="0.00%">
                  <c:v>0</c:v>
                </c:pt>
                <c:pt idx="25" formatCode="0.00%">
                  <c:v>-0.4</c:v>
                </c:pt>
                <c:pt idx="26" formatCode="0.00%">
                  <c:v>0.1111111111111111</c:v>
                </c:pt>
                <c:pt idx="27" formatCode="0.00%">
                  <c:v>-0.25</c:v>
                </c:pt>
                <c:pt idx="28" formatCode="0.00%">
                  <c:v>0.26666666666666666</c:v>
                </c:pt>
                <c:pt idx="29" formatCode="0.00%">
                  <c:v>0.57894736842105265</c:v>
                </c:pt>
                <c:pt idx="30" formatCode="0.00%">
                  <c:v>-6.6666666666666666E-2</c:v>
                </c:pt>
                <c:pt idx="31" formatCode="0.00%">
                  <c:v>-3.5714285714285712E-2</c:v>
                </c:pt>
                <c:pt idx="32" formatCode="0.00%">
                  <c:v>0.1111111111111111</c:v>
                </c:pt>
                <c:pt idx="33" formatCode="0.00%">
                  <c:v>-0.2</c:v>
                </c:pt>
                <c:pt idx="34" formatCode="0.00%">
                  <c:v>0.20833333333333334</c:v>
                </c:pt>
                <c:pt idx="35" formatCode="0.00%">
                  <c:v>-0.27586206896551724</c:v>
                </c:pt>
                <c:pt idx="36" formatCode="0.00%">
                  <c:v>0.33333333333333331</c:v>
                </c:pt>
                <c:pt idx="37" formatCode="0.00%">
                  <c:v>-0.39285714285714285</c:v>
                </c:pt>
                <c:pt idx="38" formatCode="0.00%">
                  <c:v>0.6470588235294118</c:v>
                </c:pt>
                <c:pt idx="39" formatCode="0.00%">
                  <c:v>-0.25</c:v>
                </c:pt>
                <c:pt idx="40" formatCode="0.00%">
                  <c:v>-0.33333333333333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E3-49C9-A99D-B8F763DF9B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none" lIns="0" tIns="0" rIns="0" bIns="0" rtlCol="0" anchor="t" anchorCtr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none" lIns="0" tIns="0" rIns="0" bIns="0" rtlCol="0" anchor="t" anchorCtr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  <a:t>20.0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  <a:t>20.0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  <a:t>30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</a:p>
          <a:p>
            <a:pPr lvl="1"/>
            <a:r>
              <a:rPr lang="en-US" noProof="0" dirty="0"/>
              <a:t>Second level: First bullet point level</a:t>
            </a:r>
          </a:p>
          <a:p>
            <a:pPr lvl="2"/>
            <a:r>
              <a:rPr lang="en-US" noProof="0" dirty="0"/>
              <a:t>Third level: Second bullet point level</a:t>
            </a:r>
          </a:p>
          <a:p>
            <a:pPr lvl="3"/>
            <a:r>
              <a:rPr lang="en-US" noProof="0" dirty="0"/>
              <a:t>Fourth level: Third bullet point level</a:t>
            </a:r>
          </a:p>
          <a:p>
            <a:pPr lvl="4"/>
            <a:r>
              <a:rPr lang="en-US" noProof="0" dirty="0"/>
              <a:t>Fifth level: Fourth bullet point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21.xml"/><Relationship Id="rId7" Type="http://schemas.openxmlformats.org/officeDocument/2006/relationships/chart" Target="../charts/chart10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1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1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29.xml"/><Relationship Id="rId7" Type="http://schemas.openxmlformats.org/officeDocument/2006/relationships/chart" Target="../charts/chart1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1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tags" Target="../tags/tag33.xml"/><Relationship Id="rId7" Type="http://schemas.openxmlformats.org/officeDocument/2006/relationships/chart" Target="../charts/chart1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1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tags" Target="../tags/tag37.xml"/><Relationship Id="rId7" Type="http://schemas.openxmlformats.org/officeDocument/2006/relationships/chart" Target="../charts/chart20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2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4.xml"/><Relationship Id="rId3" Type="http://schemas.openxmlformats.org/officeDocument/2006/relationships/tags" Target="../tags/tag41.xml"/><Relationship Id="rId7" Type="http://schemas.openxmlformats.org/officeDocument/2006/relationships/chart" Target="../charts/chart2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2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.xml"/><Relationship Id="rId3" Type="http://schemas.openxmlformats.org/officeDocument/2006/relationships/tags" Target="../tags/tag45.xml"/><Relationship Id="rId7" Type="http://schemas.openxmlformats.org/officeDocument/2006/relationships/chart" Target="../charts/chart2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9.xml"/><Relationship Id="rId3" Type="http://schemas.openxmlformats.org/officeDocument/2006/relationships/tags" Target="../tags/tag47.xml"/><Relationship Id="rId7" Type="http://schemas.openxmlformats.org/officeDocument/2006/relationships/chart" Target="../charts/chart28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3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2.xml"/><Relationship Id="rId3" Type="http://schemas.openxmlformats.org/officeDocument/2006/relationships/tags" Target="../tags/tag53.xml"/><Relationship Id="rId7" Type="http://schemas.openxmlformats.org/officeDocument/2006/relationships/chart" Target="../charts/chart3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3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3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5.xml"/><Relationship Id="rId3" Type="http://schemas.openxmlformats.org/officeDocument/2006/relationships/tags" Target="../tags/tag61.xml"/><Relationship Id="rId7" Type="http://schemas.openxmlformats.org/officeDocument/2006/relationships/image" Target="../media/image7.emf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Relationship Id="rId9" Type="http://schemas.openxmlformats.org/officeDocument/2006/relationships/chart" Target="../charts/chart3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chart" Target="../charts/chart3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.xml"/><Relationship Id="rId7" Type="http://schemas.openxmlformats.org/officeDocument/2006/relationships/chart" Target="../charts/char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13.xml"/><Relationship Id="rId7" Type="http://schemas.openxmlformats.org/officeDocument/2006/relationships/chart" Target="../charts/char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17.xml"/><Relationship Id="rId7" Type="http://schemas.openxmlformats.org/officeDocument/2006/relationships/chart" Target="../charts/char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4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</a:t>
            </a:r>
            <a:r>
              <a:rPr lang="en-US" altLang="zh-CN" dirty="0"/>
              <a:t>03</a:t>
            </a:r>
            <a:r>
              <a:rPr lang="en-US" dirty="0"/>
              <a:t>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US" altLang="zh-CN" dirty="0"/>
              <a:t>Jan 20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978418927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354068181"/>
              </p:ext>
            </p:extLst>
          </p:nvPr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344288350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03 vs. CW0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">
            <a:extLst>
              <a:ext uri="{FF2B5EF4-FFF2-40B4-BE49-F238E27FC236}">
                <a16:creationId xmlns:a16="http://schemas.microsoft.com/office/drawing/2014/main" id="{60091D32-0963-4B38-91BA-7DAE5C593D20}"/>
              </a:ext>
            </a:extLst>
          </p:cNvPr>
          <p:cNvSpPr txBox="1"/>
          <p:nvPr/>
        </p:nvSpPr>
        <p:spPr>
          <a:xfrm>
            <a:off x="1828800" y="3122537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3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D6A80A12-ADC9-4663-80CF-5C6C458C7017}"/>
              </a:ext>
            </a:extLst>
          </p:cNvPr>
          <p:cNvSpPr txBox="1"/>
          <p:nvPr/>
        </p:nvSpPr>
        <p:spPr>
          <a:xfrm>
            <a:off x="6705600" y="3122536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315033566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4148832575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3735501106"/>
              </p:ext>
            </p:extLst>
          </p:nvPr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929934229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03 vs. CW0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1889763429"/>
              </p:ext>
            </p:extLst>
          </p:nvPr>
        </p:nvGraphicFramePr>
        <p:xfrm>
          <a:off x="685800" y="2127985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78B47605-D0B7-4403-97FE-6B7AC0C890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9867360"/>
              </p:ext>
            </p:extLst>
          </p:nvPr>
        </p:nvGraphicFramePr>
        <p:xfrm>
          <a:off x="6234434" y="2127985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TextBox 8">
            <a:extLst>
              <a:ext uri="{FF2B5EF4-FFF2-40B4-BE49-F238E27FC236}">
                <a16:creationId xmlns:a16="http://schemas.microsoft.com/office/drawing/2014/main" id="{4589DB0D-5E31-40CD-A771-B81229DA719B}"/>
              </a:ext>
            </a:extLst>
          </p:cNvPr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745103720"/>
              </p:ext>
            </p:extLst>
          </p:nvPr>
        </p:nvGraphicFramePr>
        <p:xfrm>
          <a:off x="695325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3909816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971740246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949628265"/>
              </p:ext>
            </p:extLst>
          </p:nvPr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22946185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</a:p>
          <a:p>
            <a:r>
              <a:rPr lang="en-US" altLang="zh-CN" sz="1000" dirty="0"/>
              <a:t>Daily downloads CW03 vs. CW02 </a:t>
            </a:r>
            <a:r>
              <a:rPr lang="en-US" sz="1000" b="1" dirty="0"/>
              <a:t>– Page 4</a:t>
            </a:r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</a:p>
          <a:p>
            <a:r>
              <a:rPr lang="en-US" altLang="zh-CN" b="1" dirty="0"/>
              <a:t>Active Users</a:t>
            </a:r>
          </a:p>
          <a:p>
            <a:r>
              <a:rPr lang="en-US" altLang="zh-CN" sz="1000" dirty="0"/>
              <a:t>Daily active users CW03 vs. CW02 </a:t>
            </a:r>
            <a:r>
              <a:rPr lang="en-US" altLang="zh-CN" sz="1000" b="1" dirty="0"/>
              <a:t>– Page 8</a:t>
            </a:r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</a:p>
          <a:p>
            <a:r>
              <a:rPr lang="en-US" altLang="zh-CN" b="1" dirty="0"/>
              <a:t>Journeys</a:t>
            </a:r>
          </a:p>
          <a:p>
            <a:r>
              <a:rPr lang="en-US" altLang="zh-CN" sz="1000" dirty="0"/>
              <a:t>Daily journeys CW03 vs. CW02 </a:t>
            </a:r>
            <a:r>
              <a:rPr lang="en-US" altLang="zh-CN" sz="1000" b="1" dirty="0"/>
              <a:t>– Page 12</a:t>
            </a:r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</a:p>
          <a:p>
            <a:pPr lvl="0"/>
            <a:r>
              <a:rPr lang="en-US" altLang="zh-CN" b="1" dirty="0"/>
              <a:t>Running Time</a:t>
            </a:r>
          </a:p>
          <a:p>
            <a:pPr lvl="0"/>
            <a:r>
              <a:rPr lang="en-US" altLang="zh-CN" sz="1000" dirty="0"/>
              <a:t>Daily running time CW03 vs. CW02 – </a:t>
            </a:r>
            <a:r>
              <a:rPr lang="en-US" altLang="zh-CN" sz="1000" b="1" dirty="0"/>
              <a:t>Page 16</a:t>
            </a:r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</a:p>
          <a:p>
            <a:r>
              <a:rPr lang="en-US" altLang="zh-CN" sz="1000" dirty="0"/>
              <a:t>User activities CW03 vs. CW02 </a:t>
            </a:r>
            <a:r>
              <a:rPr lang="en-US" altLang="zh-CN" sz="1000" b="1" dirty="0"/>
              <a:t>– Page 20</a:t>
            </a:r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</a:p>
          <a:p>
            <a:r>
              <a:rPr lang="en-US" altLang="zh-CN" b="1" dirty="0"/>
              <a:t>User Preferred Charging Destination</a:t>
            </a:r>
          </a:p>
          <a:p>
            <a:r>
              <a:rPr lang="en-US" altLang="zh-CN" sz="1000" dirty="0"/>
              <a:t>User preferred charging destination analysis CW03 vs. CW02 –</a:t>
            </a:r>
            <a:r>
              <a:rPr lang="en-US" altLang="zh-CN" sz="1000" b="1" dirty="0"/>
              <a:t> Page 24</a:t>
            </a:r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</a:p>
          <a:p>
            <a:r>
              <a:rPr lang="en-US" altLang="zh-CN" b="1" dirty="0"/>
              <a:t>Recommended Times</a:t>
            </a:r>
          </a:p>
          <a:p>
            <a:r>
              <a:rPr lang="en-US" altLang="zh-CN" sz="1000" dirty="0"/>
              <a:t>Daily recommended times CW03 vs. CW02 </a:t>
            </a:r>
            <a:r>
              <a:rPr lang="en-US" altLang="zh-CN" sz="1000" b="1" dirty="0"/>
              <a:t>– Page 28</a:t>
            </a:r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</a:p>
          <a:p>
            <a:r>
              <a:rPr lang="en-US" altLang="zh-CN" b="1" dirty="0"/>
              <a:t>IT Operation</a:t>
            </a:r>
          </a:p>
          <a:p>
            <a:r>
              <a:rPr lang="en-US" altLang="zh-CN" sz="1000" dirty="0"/>
              <a:t>Tickets/requests report of CW03</a:t>
            </a:r>
            <a:r>
              <a:rPr lang="en-US" altLang="zh-CN" sz="1000" b="1" dirty="0"/>
              <a:t>– Page 32</a:t>
            </a:r>
          </a:p>
          <a:p>
            <a:r>
              <a:rPr lang="en-US" altLang="zh-CN" sz="1000" dirty="0"/>
              <a:t>Log &amp; alert review report of CW03</a:t>
            </a:r>
            <a:r>
              <a:rPr lang="en-US" altLang="zh-CN" sz="1000" b="1" dirty="0"/>
              <a:t>-Page 33</a:t>
            </a:r>
          </a:p>
          <a:p>
            <a:r>
              <a:rPr lang="en-US" altLang="zh-CN" sz="1000" dirty="0"/>
              <a:t>SLA report of CW03</a:t>
            </a:r>
            <a:r>
              <a:rPr lang="en-US" altLang="zh-CN" sz="1000" b="1" dirty="0"/>
              <a:t>-Page 34</a:t>
            </a:r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03 vs. CW02</a:t>
            </a:r>
            <a:endParaRPr lang="en-US" dirty="0"/>
          </a:p>
        </p:txBody>
      </p:sp>
      <p:graphicFrame>
        <p:nvGraphicFramePr>
          <p:cNvPr id="7" name="Chart 7"/>
          <p:cNvGraphicFramePr/>
          <p:nvPr>
            <p:extLst>
              <p:ext uri="{D42A27DB-BD31-4B8C-83A1-F6EECF244321}">
                <p14:modId xmlns:p14="http://schemas.microsoft.com/office/powerpoint/2010/main" val="3267001449"/>
              </p:ext>
            </p:extLst>
          </p:nvPr>
        </p:nvGraphicFramePr>
        <p:xfrm>
          <a:off x="685800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3" name="Chart 7">
            <a:extLst>
              <a:ext uri="{FF2B5EF4-FFF2-40B4-BE49-F238E27FC236}">
                <a16:creationId xmlns:a16="http://schemas.microsoft.com/office/drawing/2014/main" id="{699D2384-9998-47CA-9409-14B13235F3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9240364"/>
              </p:ext>
            </p:extLst>
          </p:nvPr>
        </p:nvGraphicFramePr>
        <p:xfrm>
          <a:off x="6324600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C6CEC06F-AA82-4DA7-AC59-BB796C91A1C2}"/>
              </a:ext>
            </a:extLst>
          </p:cNvPr>
          <p:cNvSpPr txBox="1"/>
          <p:nvPr/>
        </p:nvSpPr>
        <p:spPr>
          <a:xfrm>
            <a:off x="108966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849901102"/>
              </p:ext>
            </p:extLst>
          </p:nvPr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912929418"/>
              </p:ext>
            </p:extLst>
          </p:nvPr>
        </p:nvGraphicFramePr>
        <p:xfrm>
          <a:off x="685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856245471"/>
              </p:ext>
            </p:extLst>
          </p:nvPr>
        </p:nvGraphicFramePr>
        <p:xfrm>
          <a:off x="6400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3902245212"/>
              </p:ext>
            </p:extLst>
          </p:nvPr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800295640"/>
              </p:ext>
            </p:extLst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</a:t>
            </a:r>
            <a:r>
              <a:rPr lang="en-US" altLang="zh-CN" dirty="0"/>
              <a:t>03</a:t>
            </a:r>
            <a:r>
              <a:rPr lang="en-US" dirty="0"/>
              <a:t> vs. CW</a:t>
            </a:r>
            <a:r>
              <a:rPr lang="en-US" altLang="zh-CN" dirty="0"/>
              <a:t>02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0BAFE3C6-8A46-4563-91D6-31F26DA9A704}"/>
              </a:ext>
            </a:extLst>
          </p:cNvPr>
          <p:cNvSpPr txBox="1"/>
          <p:nvPr/>
        </p:nvSpPr>
        <p:spPr>
          <a:xfrm>
            <a:off x="1447800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</a:t>
            </a:r>
            <a:r>
              <a:rPr kumimoji="0" lang="en-US" altLang="zh-CN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3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2E5B2C2D-4E1B-409F-80A2-3E1C3DBFF142}"/>
              </a:ext>
            </a:extLst>
          </p:cNvPr>
          <p:cNvSpPr txBox="1"/>
          <p:nvPr/>
        </p:nvSpPr>
        <p:spPr>
          <a:xfrm>
            <a:off x="7985431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</a:t>
            </a:r>
            <a:r>
              <a:rPr kumimoji="0" lang="en-US" altLang="zh-CN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061261365"/>
              </p:ext>
            </p:extLst>
          </p:nvPr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866225939"/>
              </p:ext>
            </p:extLst>
          </p:nvPr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3421248783"/>
              </p:ext>
            </p:extLst>
          </p:nvPr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</a:p>
        </p:txBody>
      </p:sp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val="749432454"/>
              </p:ext>
            </p:extLst>
          </p:nvPr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8070D6D5-0946-425D-A04B-844A864C0975}"/>
              </a:ext>
            </a:extLst>
          </p:cNvPr>
          <p:cNvSpPr txBox="1"/>
          <p:nvPr/>
        </p:nvSpPr>
        <p:spPr>
          <a:xfrm>
            <a:off x="1447800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</a:t>
            </a:r>
            <a:r>
              <a:rPr lang="en-US" sz="1400" kern="0" dirty="0"/>
              <a:t>Jan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0</a:t>
            </a:r>
            <a:r>
              <a:rPr lang="en-US" altLang="zh-CN" dirty="0"/>
              <a:t>3</a:t>
            </a:r>
            <a:r>
              <a:rPr lang="en-US" dirty="0"/>
              <a:t> vs. CW</a:t>
            </a:r>
            <a:r>
              <a:rPr lang="en-US" altLang="zh-CN" dirty="0"/>
              <a:t>02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740C30BB-70EB-4A1B-B65D-FF5822088159}"/>
              </a:ext>
            </a:extLst>
          </p:cNvPr>
          <p:cNvSpPr txBox="1"/>
          <p:nvPr/>
        </p:nvSpPr>
        <p:spPr>
          <a:xfrm>
            <a:off x="2133600" y="3241796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sz="1400" kern="0" baseline="0" dirty="0"/>
              <a:t>0</a:t>
            </a:r>
            <a:r>
              <a:rPr lang="en-US" altLang="zh-CN" sz="1400" kern="0" dirty="0"/>
              <a:t>3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0B98B04D-12D4-4AAA-B932-838C854F6030}"/>
              </a:ext>
            </a:extLst>
          </p:cNvPr>
          <p:cNvSpPr txBox="1"/>
          <p:nvPr/>
        </p:nvSpPr>
        <p:spPr>
          <a:xfrm>
            <a:off x="7162800" y="3241796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128346069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4354"/>
              </p:ext>
            </p:ext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0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1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0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3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,</a:t>
                      </a:r>
                      <a:r>
                        <a:rPr lang="en-US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2020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02,2019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rowth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02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25.0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7.8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33.3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5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0.5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.3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7.7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40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.1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66.6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5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3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8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6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6" imgW="5715" imgH="5715" progId="TCLayout.ActiveDocument.1">
                  <p:embed/>
                </p:oleObj>
              </mc:Choice>
              <mc:Fallback>
                <p:oleObj name="think-cell Slide" r:id="rId6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15744215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452894093"/>
              </p:ext>
            </p:extLst>
          </p:nvPr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768819758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6687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02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7318067"/>
              </p:ext>
            </p:extLst>
          </p:nvPr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67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605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03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3">
            <a:extLst>
              <a:ext uri="{FF2B5EF4-FFF2-40B4-BE49-F238E27FC236}">
                <a16:creationId xmlns:a16="http://schemas.microsoft.com/office/drawing/2014/main" id="{D461F432-A2C3-4ED7-A3DF-6F7007CD96C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147239966"/>
              </p:ext>
            </p:extLst>
          </p:nvPr>
        </p:nvGraphicFramePr>
        <p:xfrm>
          <a:off x="695325" y="1447800"/>
          <a:ext cx="11164889" cy="1600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64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0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03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64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922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64229">
                  <a:extLst>
                    <a:ext uri="{9D8B030D-6E8A-4147-A177-3AD203B41FA5}">
                      <a16:colId xmlns:a16="http://schemas.microsoft.com/office/drawing/2014/main" val="488539033"/>
                    </a:ext>
                  </a:extLst>
                </a:gridCol>
              </a:tblGrid>
              <a:tr h="720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Alarm Status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96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 is no alert</a:t>
                      </a:r>
                      <a:r>
                        <a:rPr lang="en-US" altLang="zh-CN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appened in CW03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58078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8099078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967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692046300"/>
              </p:ext>
            </p:ext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>
                  <a:extLst>
                    <a:ext uri="{9D8B030D-6E8A-4147-A177-3AD203B41FA5}">
                      <a16:colId xmlns:a16="http://schemas.microsoft.com/office/drawing/2014/main" val="1238309421"/>
                    </a:ext>
                  </a:extLst>
                </a:gridCol>
                <a:gridCol w="25956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20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2098">
                  <a:extLst>
                    <a:ext uri="{9D8B030D-6E8A-4147-A177-3AD203B41FA5}">
                      <a16:colId xmlns:a16="http://schemas.microsoft.com/office/drawing/2014/main" val="2859724340"/>
                    </a:ext>
                  </a:extLst>
                </a:gridCol>
                <a:gridCol w="1740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9607896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37142125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9410210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4599871"/>
                  </a:ext>
                </a:extLst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03</a:t>
            </a:r>
            <a:br>
              <a:rPr lang="zh-CN" altLang="zh-CN" dirty="0"/>
            </a:b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308647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03 vs. CW0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4088823129"/>
              </p:ext>
            </p:extLst>
          </p:nvPr>
        </p:nvGraphicFramePr>
        <p:xfrm>
          <a:off x="696913" y="144780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045994"/>
              </p:ext>
            </p:extLst>
          </p:nvPr>
        </p:nvGraphicFramePr>
        <p:xfrm>
          <a:off x="685800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7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31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28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4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2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2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2 total downloads of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2 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63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图表 10">
            <a:extLst>
              <a:ext uri="{FF2B5EF4-FFF2-40B4-BE49-F238E27FC236}">
                <a16:creationId xmlns:a16="http://schemas.microsoft.com/office/drawing/2014/main" id="{AEED4F08-77BE-4492-98DB-9D36D2852F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2607184"/>
              </p:ext>
            </p:extLst>
          </p:nvPr>
        </p:nvGraphicFramePr>
        <p:xfrm>
          <a:off x="6200777" y="144780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Table 8">
            <a:extLst>
              <a:ext uri="{FF2B5EF4-FFF2-40B4-BE49-F238E27FC236}">
                <a16:creationId xmlns:a16="http://schemas.microsoft.com/office/drawing/2014/main" id="{BA0ECBBC-77B7-48F5-A73F-72B4D284B4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9891937"/>
              </p:ext>
            </p:extLst>
          </p:nvPr>
        </p:nvGraphicFramePr>
        <p:xfrm>
          <a:off x="6189664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7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31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28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4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2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2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2 total downloads of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2 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63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842233265"/>
              </p:ext>
            </p:extLst>
          </p:nvPr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1676712"/>
              </p:ext>
            </p:extLst>
          </p:nvPr>
        </p:nvGraphicFramePr>
        <p:xfrm>
          <a:off x="685800" y="5986675"/>
          <a:ext cx="5715000" cy="561132"/>
        </p:xfrm>
        <a:graphic>
          <a:graphicData uri="http://schemas.openxmlformats.org/drawingml/2006/table">
            <a:tbl>
              <a:tblPr/>
              <a:tblGrid>
                <a:gridCol w="15853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71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67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57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950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259696686"/>
              </p:ext>
            </p:extLst>
          </p:nvPr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4" name="Chart 7"/>
          <p:cNvGraphicFramePr/>
          <p:nvPr>
            <p:extLst>
              <p:ext uri="{D42A27DB-BD31-4B8C-83A1-F6EECF244321}">
                <p14:modId xmlns:p14="http://schemas.microsoft.com/office/powerpoint/2010/main" val="617257838"/>
              </p:ext>
            </p:extLst>
          </p:nvPr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181438409"/>
              </p:ext>
            </p:extLst>
          </p:nvPr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03 vs. CW0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778839246"/>
              </p:ext>
            </p:extLst>
          </p:nvPr>
        </p:nvGraphicFramePr>
        <p:xfrm>
          <a:off x="678481" y="2136303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5B798ECA-AFB9-4FE0-9AFC-27D1407C60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3895282"/>
              </p:ext>
            </p:extLst>
          </p:nvPr>
        </p:nvGraphicFramePr>
        <p:xfrm>
          <a:off x="6232374" y="2136303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11">
            <a:extLst>
              <a:ext uri="{FF2B5EF4-FFF2-40B4-BE49-F238E27FC236}">
                <a16:creationId xmlns:a16="http://schemas.microsoft.com/office/drawing/2014/main" id="{6F7A89BE-94BC-4AB8-9B0F-D5DF4F266645}"/>
              </a:ext>
            </a:extLst>
          </p:cNvPr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301399164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LoLql6RUeuYQ4rLl7q1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JxiPNwRz.CeyOxFcvl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XsL_FcQ4ecxtJfZcTn1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rEv0hCRge0U7GucsMpp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dWBk6QOqdh7N2Sulv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dWBk6QOqdh7N2Sulv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XsL_FcQ4ecxtJfZcTn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extraClrSchemeLst/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186</TotalTime>
  <Words>2610</Words>
  <Application>Microsoft Office PowerPoint</Application>
  <PresentationFormat>宽屏</PresentationFormat>
  <Paragraphs>510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42" baseType="lpstr">
      <vt:lpstr>Audi Type</vt:lpstr>
      <vt:lpstr>Audi Type Extended</vt:lpstr>
      <vt:lpstr>微软雅黑</vt:lpstr>
      <vt:lpstr>Arial</vt:lpstr>
      <vt:lpstr>Calibri</vt:lpstr>
      <vt:lpstr>Symbol</vt:lpstr>
      <vt:lpstr>Audi_PPT-Template_16x9_EN</vt:lpstr>
      <vt:lpstr>think-cell Slide</vt:lpstr>
      <vt:lpstr>The Weekly Report of Go e-tron App (CW03, 2020)   Jan 20,2020 </vt:lpstr>
      <vt:lpstr>Content</vt:lpstr>
      <vt:lpstr>Data summary  </vt:lpstr>
      <vt:lpstr>Daily downloads CW03 vs. CW02</vt:lpstr>
      <vt:lpstr>Weekly downloads since go live</vt:lpstr>
      <vt:lpstr>Average weekly downloads &amp; average daily downloads</vt:lpstr>
      <vt:lpstr>Monthly downloads since go live </vt:lpstr>
      <vt:lpstr>Daily active users CW03 vs. CW02</vt:lpstr>
      <vt:lpstr>Weekly active users since go live </vt:lpstr>
      <vt:lpstr>Average weekly active users &amp; average daily active users </vt:lpstr>
      <vt:lpstr>Monthly actives users since go live</vt:lpstr>
      <vt:lpstr>Daily journeys CW03 vs. CW02</vt:lpstr>
      <vt:lpstr>Weekly journeys since go live </vt:lpstr>
      <vt:lpstr>Average weekly journeys &amp; average daily journeys</vt:lpstr>
      <vt:lpstr>Monthly journeys since go live</vt:lpstr>
      <vt:lpstr>Daily running time CW03 vs. CW02</vt:lpstr>
      <vt:lpstr>Weekly running time since go live </vt:lpstr>
      <vt:lpstr>Average weekly running time &amp; average daily running time</vt:lpstr>
      <vt:lpstr>Monthly running time since go live </vt:lpstr>
      <vt:lpstr>User activities CW03 vs. CW02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03 vs. CW02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03 vs. CW02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02</vt:lpstr>
      <vt:lpstr>Log &amp; alert review report of CW03  </vt:lpstr>
      <vt:lpstr>SLA report of CW03 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 </cp:lastModifiedBy>
  <cp:revision>1153</cp:revision>
  <dcterms:created xsi:type="dcterms:W3CDTF">2019-06-18T08:03:00Z</dcterms:created>
  <dcterms:modified xsi:type="dcterms:W3CDTF">2020-01-20T08:2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3.0.8632</vt:lpwstr>
  </property>
</Properties>
</file>